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4"/>
  </p:notesMasterIdLst>
  <p:handoutMasterIdLst>
    <p:handoutMasterId r:id="rId15"/>
  </p:handoutMasterIdLst>
  <p:sldIdLst>
    <p:sldId id="2147474881" r:id="rId6"/>
    <p:sldId id="2147469562" r:id="rId7"/>
    <p:sldId id="2147469546" r:id="rId8"/>
    <p:sldId id="2147469547" r:id="rId9"/>
    <p:sldId id="2147469548" r:id="rId10"/>
    <p:sldId id="2147469561" r:id="rId11"/>
    <p:sldId id="2147474880" r:id="rId12"/>
    <p:sldId id="2147469535" r:id="rId13"/>
  </p:sldIdLst>
  <p:sldSz cx="12192000" cy="6858000"/>
  <p:notesSz cx="6858000" cy="9144000"/>
  <p:custDataLst>
    <p:tags r:id="rId16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4" userDrawn="1">
          <p15:clr>
            <a:srgbClr val="A4A3A4"/>
          </p15:clr>
        </p15:guide>
        <p15:guide id="2" pos="211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75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ERVEISS Suzanne" initials="SS" lastIdx="0" clrIdx="1"/>
  <p:cmAuthor id="1" name="Joe Percy" initials="JP" lastIdx="0" clrIdx="2"/>
  <p:cmAuthor id="2" name="TYLER Cheryl" initials="TC" lastIdx="0" clrIdx="3"/>
  <p:cmAuthor id="3" name="Tom Ewing" initials="TE" lastIdx="0" clrIdx="4"/>
  <p:cmAuthor id="4" name="Li Webster" initials="LW" lastIdx="0" clrIdx="5"/>
  <p:cmAuthor id="5" name="DE CROON Benedicte" initials="DCB" lastIdx="0" clrIdx="6"/>
  <p:cmAuthor id="6" name="MAY Katharina" initials="MK" lastIdx="0" clrIdx="7"/>
  <p:cmAuthor id="7" name="KÖNIGSON KOOPMANS Anna" initials="KKA" lastIdx="0" clrIdx="8"/>
  <p:cmAuthor id="8" name="WENZEL Hazel" initials="WH" lastIdx="0" clrIdx="9"/>
  <p:cmAuthor id="9" name="NILSSON Josefin" initials="NJ" lastIdx="0" clrIdx="10"/>
  <p:cmAuthor id="10" name="HOWELL Renee" initials="HR" lastIdx="0" clrIdx="11"/>
  <p:cmAuthor id="11" name="Egle Kanavolaite" initials="EK" lastIdx="0" clrIdx="12"/>
  <p:cmAuthor id="12" name="KÖNIGSON KOOPMANS Anna" initials="KA" lastIdx="0" clrIdx="13"/>
  <p:cmAuthor id="13" name="FREDMAN Pia" initials="FP" lastIdx="0" clrIdx="14"/>
  <p:cmAuthor id="14" name="Austeja Skudaite" initials="AS" lastIdx="0" clrIdx="15"/>
  <p:cmAuthor id="15" name="OLSAVICKY Rachel" initials="OR" lastIdx="0" clrIdx="16"/>
  <p:cmAuthor id="16" name="Windows-felhasználó" initials="W" lastIdx="7" clrIdx="17">
    <p:extLst>
      <p:ext uri="{19B8F6BF-5375-455C-9EA6-DF929625EA0E}">
        <p15:presenceInfo xmlns:p15="http://schemas.microsoft.com/office/powerpoint/2012/main" userId="Windows-felhasználó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llanmörkt format 2 - Dekorfär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llanmörkt format 2 - Dekorfär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llanmörkt format 2 - Dekorfär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360" autoAdjust="0"/>
  </p:normalViewPr>
  <p:slideViewPr>
    <p:cSldViewPr snapToGrid="0">
      <p:cViewPr varScale="1">
        <p:scale>
          <a:sx n="106" d="100"/>
          <a:sy n="106" d="100"/>
        </p:scale>
        <p:origin x="756" y="120"/>
      </p:cViewPr>
      <p:guideLst>
        <p:guide orient="horz" pos="3974"/>
        <p:guide pos="211"/>
        <p:guide pos="7469"/>
        <p:guide orient="horz" pos="210"/>
        <p:guide orient="horz" pos="75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ÉSZÁROS Barbara" userId="b2c61507-8713-438b-b3a5-94f708a69cb4" providerId="ADAL" clId="{1E231402-5FE8-4C41-8550-6734F39C2941}"/>
    <pc:docChg chg="custSel modSld">
      <pc:chgData name="MÉSZÁROS Barbara" userId="b2c61507-8713-438b-b3a5-94f708a69cb4" providerId="ADAL" clId="{1E231402-5FE8-4C41-8550-6734F39C2941}" dt="2024-03-20T15:11:35.379" v="4" actId="1076"/>
      <pc:docMkLst>
        <pc:docMk/>
      </pc:docMkLst>
      <pc:sldChg chg="delSp modSp mod">
        <pc:chgData name="MÉSZÁROS Barbara" userId="b2c61507-8713-438b-b3a5-94f708a69cb4" providerId="ADAL" clId="{1E231402-5FE8-4C41-8550-6734F39C2941}" dt="2024-03-20T15:11:35.379" v="4" actId="1076"/>
        <pc:sldMkLst>
          <pc:docMk/>
          <pc:sldMk cId="3648963909" sldId="2147469561"/>
        </pc:sldMkLst>
        <pc:graphicFrameChg chg="modGraphic">
          <ac:chgData name="MÉSZÁROS Barbara" userId="b2c61507-8713-438b-b3a5-94f708a69cb4" providerId="ADAL" clId="{1E231402-5FE8-4C41-8550-6734F39C2941}" dt="2024-03-20T15:11:29.114" v="1" actId="2164"/>
          <ac:graphicFrameMkLst>
            <pc:docMk/>
            <pc:sldMk cId="3648963909" sldId="2147469561"/>
            <ac:graphicFrameMk id="4" creationId="{69B25CC8-3F5C-3F6A-F32C-2AFE06F1D78B}"/>
          </ac:graphicFrameMkLst>
        </pc:graphicFrameChg>
        <pc:picChg chg="del mod">
          <ac:chgData name="MÉSZÁROS Barbara" userId="b2c61507-8713-438b-b3a5-94f708a69cb4" providerId="ADAL" clId="{1E231402-5FE8-4C41-8550-6734F39C2941}" dt="2024-03-20T15:11:32.403" v="2" actId="478"/>
          <ac:picMkLst>
            <pc:docMk/>
            <pc:sldMk cId="3648963909" sldId="2147469561"/>
            <ac:picMk id="7" creationId="{4EED043D-2294-391F-4F26-A7EA12E0102B}"/>
          </ac:picMkLst>
        </pc:picChg>
        <pc:picChg chg="mod">
          <ac:chgData name="MÉSZÁROS Barbara" userId="b2c61507-8713-438b-b3a5-94f708a69cb4" providerId="ADAL" clId="{1E231402-5FE8-4C41-8550-6734F39C2941}" dt="2024-03-20T15:11:33.330" v="3" actId="1076"/>
          <ac:picMkLst>
            <pc:docMk/>
            <pc:sldMk cId="3648963909" sldId="2147469561"/>
            <ac:picMk id="8" creationId="{D080C679-9822-53F9-01F0-16F0D86B8B7F}"/>
          </ac:picMkLst>
        </pc:picChg>
        <pc:picChg chg="mod">
          <ac:chgData name="MÉSZÁROS Barbara" userId="b2c61507-8713-438b-b3a5-94f708a69cb4" providerId="ADAL" clId="{1E231402-5FE8-4C41-8550-6734F39C2941}" dt="2024-03-20T15:11:35.379" v="4" actId="1076"/>
          <ac:picMkLst>
            <pc:docMk/>
            <pc:sldMk cId="3648963909" sldId="2147469561"/>
            <ac:picMk id="9" creationId="{8B69B8D1-CFC7-E201-C99A-ECF7BE97C4A1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B90E6E-680F-4778-8E2A-814EE8C5DD0F}" type="datetimeFigureOut">
              <a:rPr lang="en-GB" smtClean="0"/>
              <a:t>20/03/2024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FDAC1A-265C-4579-A922-424BE34579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104527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232D6E-9C51-45AA-B5E7-90582F1AF6BA}" type="datetimeFigureOut">
              <a:rPr lang="en-GB" smtClean="0"/>
              <a:t>20/03/2024</a:t>
            </a:fld>
            <a:endParaRPr lang="en-GB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C79413-B00C-4EAA-B330-AE2D434573B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43774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204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7617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351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 blu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EC1CDFA-DCB5-4412-8F78-1A72068BA4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095704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EC1CDFA-DCB5-4412-8F78-1A72068BA4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-5264" y="1"/>
            <a:ext cx="12197264" cy="599606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97209" y="179552"/>
            <a:ext cx="5022407" cy="914400"/>
          </a:xfrm>
        </p:spPr>
        <p:txBody>
          <a:bodyPr/>
          <a:lstStyle>
            <a:lvl1pPr marL="0" indent="0">
              <a:spcAft>
                <a:spcPct val="0"/>
              </a:spcAft>
              <a:buNone/>
              <a:defRPr sz="5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4" y="2971800"/>
            <a:ext cx="4985180" cy="914400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Subtitle</a:t>
            </a:r>
            <a:endParaRPr lang="nl-NL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5AD6F822-CA89-4CCD-B060-7854BF84B4E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09493" y="6257393"/>
            <a:ext cx="1259689" cy="343651"/>
          </a:xfrm>
          <a:prstGeom prst="rect">
            <a:avLst/>
          </a:prstGeom>
        </p:spPr>
      </p:pic>
      <p:sp>
        <p:nvSpPr>
          <p:cNvPr id="10" name="TextBox 11">
            <a:extLst>
              <a:ext uri="{FF2B5EF4-FFF2-40B4-BE49-F238E27FC236}">
                <a16:creationId xmlns:a16="http://schemas.microsoft.com/office/drawing/2014/main" id="{F058940A-23E0-4ED5-A7A0-57D577AD431A}"/>
              </a:ext>
            </a:extLst>
          </p:cNvPr>
          <p:cNvSpPr txBox="1"/>
          <p:nvPr userDrawn="1"/>
        </p:nvSpPr>
        <p:spPr>
          <a:xfrm>
            <a:off x="-3641429" y="-49389"/>
            <a:ext cx="3483385" cy="44012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 image: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ete the existing image. 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1400">
              <a:solidFill>
                <a:srgbClr val="00205B"/>
              </a:solidFill>
              <a:latin typeface="Arial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 image: </a:t>
            </a:r>
            <a:endParaRPr lang="en-US" sz="1400">
              <a:solidFill>
                <a:srgbClr val="00205B"/>
              </a:solidFill>
              <a:latin typeface="Arial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dline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y be used in white, core blue or core cyan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ke sure the text and both Tork and Essity logos are clearly visible. </a:t>
            </a:r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29B907D2-A673-418E-82CD-3221D8FA61A8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0655302" y="209552"/>
            <a:ext cx="1238400" cy="855034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8920970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3" pos="5602">
          <p15:clr>
            <a:srgbClr val="FBAE40"/>
          </p15:clr>
        </p15:guide>
        <p15:guide id="4" orient="horz" pos="3083">
          <p15:clr>
            <a:srgbClr val="FBAE40"/>
          </p15:clr>
        </p15:guide>
        <p15:guide id="5" orient="horz" pos="3475" userDrawn="1">
          <p15:clr>
            <a:srgbClr val="FBAE40"/>
          </p15:clr>
        </p15:guide>
        <p15:guide id="6" orient="horz" pos="204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32" y="6399544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cxnSp>
        <p:nvCxnSpPr>
          <p:cNvPr id="11" name="Rak koppling 10"/>
          <p:cNvCxnSpPr/>
          <p:nvPr userDrawn="1"/>
        </p:nvCxnSpPr>
        <p:spPr>
          <a:xfrm rot="5400000" flipH="1">
            <a:off x="-287337" y="6186447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ak koppling 11"/>
          <p:cNvCxnSpPr/>
          <p:nvPr userDrawn="1"/>
        </p:nvCxnSpPr>
        <p:spPr>
          <a:xfrm flipH="1">
            <a:off x="334963" y="6946902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6" y="6399544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8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0" y="6399544"/>
            <a:ext cx="24765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4525208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6"/>
          <p:cNvSpPr>
            <a:spLocks noGrp="1"/>
          </p:cNvSpPr>
          <p:nvPr>
            <p:ph type="pic" sz="quarter" idx="15" hasCustomPrompt="1"/>
          </p:nvPr>
        </p:nvSpPr>
        <p:spPr>
          <a:xfrm>
            <a:off x="3" y="-6349"/>
            <a:ext cx="12191999" cy="68643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99E52CAF-A013-4579-925D-28C502C848E9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0655302" y="209552"/>
            <a:ext cx="1238400" cy="855034"/>
          </a:xfr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0CD1FE7-0FB1-4FCC-B86A-A08D324052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0532836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0CD1FE7-0FB1-4FCC-B86A-A08D32405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1CE23A24-AD94-4844-9156-91973C8DB7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347175" y="320678"/>
            <a:ext cx="5616591" cy="10033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TextBox 11">
            <a:extLst>
              <a:ext uri="{FF2B5EF4-FFF2-40B4-BE49-F238E27FC236}">
                <a16:creationId xmlns:a16="http://schemas.microsoft.com/office/drawing/2014/main" id="{EB8DDF87-41FA-4433-B7E4-1417F8B18E7F}"/>
              </a:ext>
            </a:extLst>
          </p:cNvPr>
          <p:cNvSpPr txBox="1"/>
          <p:nvPr userDrawn="1"/>
        </p:nvSpPr>
        <p:spPr>
          <a:xfrm>
            <a:off x="-3641429" y="-49389"/>
            <a:ext cx="3483385" cy="375487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 image: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ete the existing image. 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1400">
              <a:solidFill>
                <a:srgbClr val="00205B"/>
              </a:solidFill>
              <a:latin typeface="Arial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 image: </a:t>
            </a:r>
            <a:endParaRPr lang="en-US" sz="1400">
              <a:solidFill>
                <a:srgbClr val="00205B"/>
              </a:solidFill>
              <a:latin typeface="Arial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dline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y be used in white, core blue or core cyan.</a:t>
            </a:r>
          </a:p>
        </p:txBody>
      </p:sp>
    </p:spTree>
    <p:extLst>
      <p:ext uri="{BB962C8B-B14F-4D97-AF65-F5344CB8AC3E}">
        <p14:creationId xmlns:p14="http://schemas.microsoft.com/office/powerpoint/2010/main" val="164266801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blu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6"/>
          <p:cNvSpPr>
            <a:spLocks noGrp="1"/>
          </p:cNvSpPr>
          <p:nvPr>
            <p:ph type="pic" sz="quarter" idx="15" hasCustomPrompt="1"/>
          </p:nvPr>
        </p:nvSpPr>
        <p:spPr>
          <a:xfrm>
            <a:off x="3" y="-6349"/>
            <a:ext cx="12191999" cy="68643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FAB933AC-5B69-4175-9E5B-04E54D570296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0655302" y="209552"/>
            <a:ext cx="1238400" cy="855034"/>
          </a:xfr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0CD1FE7-0FB1-4FCC-B86A-A08D324052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6199253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0CD1FE7-0FB1-4FCC-B86A-A08D32405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1CE23A24-AD94-4844-9156-91973C8DB7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347175" y="320678"/>
            <a:ext cx="5616591" cy="10033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TextBox 11">
            <a:extLst>
              <a:ext uri="{FF2B5EF4-FFF2-40B4-BE49-F238E27FC236}">
                <a16:creationId xmlns:a16="http://schemas.microsoft.com/office/drawing/2014/main" id="{EB8DDF87-41FA-4433-B7E4-1417F8B18E7F}"/>
              </a:ext>
            </a:extLst>
          </p:cNvPr>
          <p:cNvSpPr txBox="1"/>
          <p:nvPr userDrawn="1"/>
        </p:nvSpPr>
        <p:spPr>
          <a:xfrm>
            <a:off x="-3641429" y="-49389"/>
            <a:ext cx="3483385" cy="375487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 image: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ete the existing image. 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1400">
              <a:solidFill>
                <a:srgbClr val="00205B"/>
              </a:solidFill>
              <a:latin typeface="Arial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 image: </a:t>
            </a:r>
            <a:endParaRPr lang="en-US" sz="1400">
              <a:solidFill>
                <a:srgbClr val="00205B"/>
              </a:solidFill>
              <a:latin typeface="Arial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dline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y be used in white, core blue or core cyan.</a:t>
            </a:r>
          </a:p>
        </p:txBody>
      </p:sp>
    </p:spTree>
    <p:extLst>
      <p:ext uri="{BB962C8B-B14F-4D97-AF65-F5344CB8AC3E}">
        <p14:creationId xmlns:p14="http://schemas.microsoft.com/office/powerpoint/2010/main" val="355744240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photo cyan_blu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9D25A87-BA95-4469-B0B7-429DECC3E4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8819395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9D25A87-BA95-4469-B0B7-429DECC3E4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A217CA3D-7A95-4D2B-8F5F-E80C224EE9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Platshållare för bild 9"/>
          <p:cNvSpPr>
            <a:spLocks noGrp="1"/>
          </p:cNvSpPr>
          <p:nvPr>
            <p:ph type="pic" sz="quarter" idx="14" hasCustomPrompt="1"/>
          </p:nvPr>
        </p:nvSpPr>
        <p:spPr>
          <a:xfrm>
            <a:off x="6130979" y="0"/>
            <a:ext cx="6061023" cy="6316133"/>
          </a:xfrm>
          <a:noFill/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2" y="0"/>
            <a:ext cx="6130977" cy="6316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1" err="1">
              <a:solidFill>
                <a:schemeClr val="tx2"/>
              </a:solidFill>
            </a:endParaRP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344294" y="3049589"/>
            <a:ext cx="5561833" cy="16557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5B3C45E9-058C-4548-85F1-931EA465746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5746" y="6462790"/>
            <a:ext cx="901812" cy="246020"/>
          </a:xfrm>
          <a:prstGeom prst="rect">
            <a:avLst/>
          </a:prstGeom>
        </p:spPr>
      </p:pic>
      <p:sp>
        <p:nvSpPr>
          <p:cNvPr id="15" name="Rubrik 1">
            <a:extLst>
              <a:ext uri="{FF2B5EF4-FFF2-40B4-BE49-F238E27FC236}">
                <a16:creationId xmlns:a16="http://schemas.microsoft.com/office/drawing/2014/main" id="{165FAF62-31C3-41BA-9B10-2F6EB2B132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6" y="289833"/>
            <a:ext cx="5571161" cy="1764200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en-US" noProof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12A05288-6886-47C8-B4AA-C36CE3307C37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0655302" y="209552"/>
            <a:ext cx="1238400" cy="855034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16" name="Rectangle 9">
            <a:extLst>
              <a:ext uri="{FF2B5EF4-FFF2-40B4-BE49-F238E27FC236}">
                <a16:creationId xmlns:a16="http://schemas.microsoft.com/office/drawing/2014/main" id="{52F0A9ED-8244-44E3-8297-AF80045E7C73}"/>
              </a:ext>
            </a:extLst>
          </p:cNvPr>
          <p:cNvSpPr/>
          <p:nvPr userDrawn="1"/>
        </p:nvSpPr>
        <p:spPr>
          <a:xfrm>
            <a:off x="-3641428" y="4600895"/>
            <a:ext cx="3529003" cy="10650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 anchorCtr="0"/>
          <a:lstStyle/>
          <a:p>
            <a:pPr algn="l"/>
            <a:r>
              <a:rPr lang="en-US" sz="1400" b="0" i="0" kern="1200" noProof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Template slide available with white and blue logo. Go to Layout to change on existing slide.</a:t>
            </a:r>
          </a:p>
        </p:txBody>
      </p:sp>
      <p:sp>
        <p:nvSpPr>
          <p:cNvPr id="17" name="TextBox 11">
            <a:extLst>
              <a:ext uri="{FF2B5EF4-FFF2-40B4-BE49-F238E27FC236}">
                <a16:creationId xmlns:a16="http://schemas.microsoft.com/office/drawing/2014/main" id="{0C5B9A89-FDE4-4786-A8E2-6B245FDF674D}"/>
              </a:ext>
            </a:extLst>
          </p:cNvPr>
          <p:cNvSpPr txBox="1"/>
          <p:nvPr userDrawn="1"/>
        </p:nvSpPr>
        <p:spPr>
          <a:xfrm>
            <a:off x="-3641429" y="-49389"/>
            <a:ext cx="3483385" cy="44012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nge image: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lete the existing image. 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1400">
              <a:solidFill>
                <a:srgbClr val="00205B"/>
              </a:solidFill>
              <a:latin typeface="+mn-lt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d image: </a:t>
            </a:r>
            <a:endParaRPr lang="en-US" sz="1400">
              <a:solidFill>
                <a:srgbClr val="00205B"/>
              </a:solidFill>
              <a:latin typeface="+mn-lt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adline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y be used in white, core blue or core cyan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ke sure the text and both Tork and Essity logos are clearly visible. </a:t>
            </a:r>
          </a:p>
        </p:txBody>
      </p:sp>
      <p:sp>
        <p:nvSpPr>
          <p:cNvPr id="18" name="Platshållare för datum 3">
            <a:extLst>
              <a:ext uri="{FF2B5EF4-FFF2-40B4-BE49-F238E27FC236}">
                <a16:creationId xmlns:a16="http://schemas.microsoft.com/office/drawing/2014/main" id="{752F6A56-EACB-4FE2-BA1B-FCC36819FB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9" name="Platshållare för sidfot 4">
            <a:extLst>
              <a:ext uri="{FF2B5EF4-FFF2-40B4-BE49-F238E27FC236}">
                <a16:creationId xmlns:a16="http://schemas.microsoft.com/office/drawing/2014/main" id="{E9F875EB-7511-4FD3-92D1-01153530B8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6029" y="6399543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cxnSp>
        <p:nvCxnSpPr>
          <p:cNvPr id="20" name="Rak koppling 19">
            <a:extLst>
              <a:ext uri="{FF2B5EF4-FFF2-40B4-BE49-F238E27FC236}">
                <a16:creationId xmlns:a16="http://schemas.microsoft.com/office/drawing/2014/main" id="{6A55BBDF-5882-471B-ACA2-E057279F497D}"/>
              </a:ext>
            </a:extLst>
          </p:cNvPr>
          <p:cNvCxnSpPr/>
          <p:nvPr userDrawn="1"/>
        </p:nvCxnSpPr>
        <p:spPr>
          <a:xfrm rot="5400000" flipH="1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ak koppling 20">
            <a:extLst>
              <a:ext uri="{FF2B5EF4-FFF2-40B4-BE49-F238E27FC236}">
                <a16:creationId xmlns:a16="http://schemas.microsoft.com/office/drawing/2014/main" id="{E6662FB9-A1F6-4D6B-ADF0-8D2F4123A8D6}"/>
              </a:ext>
            </a:extLst>
          </p:cNvPr>
          <p:cNvCxnSpPr/>
          <p:nvPr userDrawn="1"/>
        </p:nvCxnSpPr>
        <p:spPr>
          <a:xfrm flipH="1"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latshållare för bildnummer 5">
            <a:extLst>
              <a:ext uri="{FF2B5EF4-FFF2-40B4-BE49-F238E27FC236}">
                <a16:creationId xmlns:a16="http://schemas.microsoft.com/office/drawing/2014/main" id="{A96C8E4E-9972-4BDB-8D21-36B8258603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3" name="MSIPCMContentMarking" descr="{&quot;HashCode&quot;:1010195664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E3D8BA9D-5632-48C6-A6CD-5C2502875400}"/>
              </a:ext>
            </a:extLst>
          </p:cNvPr>
          <p:cNvSpPr txBox="1"/>
          <p:nvPr userDrawn="1"/>
        </p:nvSpPr>
        <p:spPr>
          <a:xfrm>
            <a:off x="0" y="6595656"/>
            <a:ext cx="100714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Essity Internal</a:t>
            </a:r>
          </a:p>
        </p:txBody>
      </p:sp>
    </p:spTree>
    <p:extLst>
      <p:ext uri="{BB962C8B-B14F-4D97-AF65-F5344CB8AC3E}">
        <p14:creationId xmlns:p14="http://schemas.microsoft.com/office/powerpoint/2010/main" val="34337365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158">
          <p15:clr>
            <a:srgbClr val="FBAE40"/>
          </p15:clr>
        </p15:guide>
        <p15:guide id="3" pos="5602">
          <p15:clr>
            <a:srgbClr val="FBAE40"/>
          </p15:clr>
        </p15:guide>
        <p15:guide id="4" orient="horz" pos="3083">
          <p15:clr>
            <a:srgbClr val="FBAE40"/>
          </p15:clr>
        </p15:guide>
        <p15:guide id="5" orient="horz" pos="274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 with photo cyan,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9D25A87-BA95-4469-B0B7-429DECC3E4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351129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9D25A87-BA95-4469-B0B7-429DECC3E4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A217CA3D-7A95-4D2B-8F5F-E80C224EE9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" y="0"/>
            <a:ext cx="6130977" cy="6316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1" err="1">
              <a:solidFill>
                <a:schemeClr val="tx2"/>
              </a:solidFill>
            </a:endParaRP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344294" y="3049589"/>
            <a:ext cx="5561833" cy="16557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5B3C45E9-058C-4548-85F1-931EA465746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5746" y="6462790"/>
            <a:ext cx="901812" cy="246020"/>
          </a:xfrm>
          <a:prstGeom prst="rect">
            <a:avLst/>
          </a:prstGeom>
        </p:spPr>
      </p:pic>
      <p:sp>
        <p:nvSpPr>
          <p:cNvPr id="15" name="Platshållare för bild 9">
            <a:extLst>
              <a:ext uri="{FF2B5EF4-FFF2-40B4-BE49-F238E27FC236}">
                <a16:creationId xmlns:a16="http://schemas.microsoft.com/office/drawing/2014/main" id="{40AD7C86-B94F-4182-A4BE-15C5CF80F93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30979" y="0"/>
            <a:ext cx="6061023" cy="6316133"/>
          </a:xfrm>
          <a:noFill/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4" name="Rubrik 1">
            <a:extLst>
              <a:ext uri="{FF2B5EF4-FFF2-40B4-BE49-F238E27FC236}">
                <a16:creationId xmlns:a16="http://schemas.microsoft.com/office/drawing/2014/main" id="{7DD3C4E4-BBA6-4EF1-BEB1-835E8BC54C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6" y="289833"/>
            <a:ext cx="5571161" cy="1764200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en-US" noProof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124EF134-AE43-49C3-8AF9-5401407093EB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0655302" y="209552"/>
            <a:ext cx="1238400" cy="855034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CF83BEEA-EB90-4F6D-9EB8-7B6C6AA62C8A}"/>
              </a:ext>
            </a:extLst>
          </p:cNvPr>
          <p:cNvSpPr/>
          <p:nvPr userDrawn="1"/>
        </p:nvSpPr>
        <p:spPr>
          <a:xfrm>
            <a:off x="-3641428" y="4600895"/>
            <a:ext cx="3529003" cy="10650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 anchorCtr="0"/>
          <a:lstStyle/>
          <a:p>
            <a:pPr algn="l"/>
            <a:r>
              <a:rPr lang="en-US" sz="1400" b="0" i="0" kern="1200" noProof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Template slide available with white and blue logo. Go to Layout to change on existing slide.</a:t>
            </a:r>
          </a:p>
        </p:txBody>
      </p:sp>
      <p:sp>
        <p:nvSpPr>
          <p:cNvPr id="18" name="TextBox 11">
            <a:extLst>
              <a:ext uri="{FF2B5EF4-FFF2-40B4-BE49-F238E27FC236}">
                <a16:creationId xmlns:a16="http://schemas.microsoft.com/office/drawing/2014/main" id="{18150387-24EF-44CD-8988-1FD4C379F509}"/>
              </a:ext>
            </a:extLst>
          </p:cNvPr>
          <p:cNvSpPr txBox="1"/>
          <p:nvPr userDrawn="1"/>
        </p:nvSpPr>
        <p:spPr>
          <a:xfrm>
            <a:off x="-3641429" y="-49389"/>
            <a:ext cx="3483385" cy="44012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nge image: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lete the existing image. 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1400">
              <a:solidFill>
                <a:srgbClr val="00205B"/>
              </a:solidFill>
              <a:latin typeface="+mn-lt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d image: </a:t>
            </a:r>
            <a:endParaRPr lang="en-US" sz="1400">
              <a:solidFill>
                <a:srgbClr val="00205B"/>
              </a:solidFill>
              <a:latin typeface="+mn-lt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adline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y be used in white, core blue or core cyan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ke sure the text and both Tork and Essity logos are clearly visible. </a:t>
            </a:r>
          </a:p>
        </p:txBody>
      </p:sp>
      <p:sp>
        <p:nvSpPr>
          <p:cNvPr id="19" name="Platshållare för datum 3">
            <a:extLst>
              <a:ext uri="{FF2B5EF4-FFF2-40B4-BE49-F238E27FC236}">
                <a16:creationId xmlns:a16="http://schemas.microsoft.com/office/drawing/2014/main" id="{6C87E4D0-AEB2-481E-9E87-4D3147405A2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20" name="Platshållare för sidfot 4">
            <a:extLst>
              <a:ext uri="{FF2B5EF4-FFF2-40B4-BE49-F238E27FC236}">
                <a16:creationId xmlns:a16="http://schemas.microsoft.com/office/drawing/2014/main" id="{C1AEEC3A-6EAC-4EFF-9875-4D4218472F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6029" y="6399543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cxnSp>
        <p:nvCxnSpPr>
          <p:cNvPr id="21" name="Rak koppling 20">
            <a:extLst>
              <a:ext uri="{FF2B5EF4-FFF2-40B4-BE49-F238E27FC236}">
                <a16:creationId xmlns:a16="http://schemas.microsoft.com/office/drawing/2014/main" id="{FFBFCFD1-F5F9-43B3-9DD4-E1E4D8CDC28F}"/>
              </a:ext>
            </a:extLst>
          </p:cNvPr>
          <p:cNvCxnSpPr/>
          <p:nvPr userDrawn="1"/>
        </p:nvCxnSpPr>
        <p:spPr>
          <a:xfrm rot="5400000" flipH="1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ak koppling 21">
            <a:extLst>
              <a:ext uri="{FF2B5EF4-FFF2-40B4-BE49-F238E27FC236}">
                <a16:creationId xmlns:a16="http://schemas.microsoft.com/office/drawing/2014/main" id="{50E43F91-A6B4-4E96-AFF7-DFF4239422A6}"/>
              </a:ext>
            </a:extLst>
          </p:cNvPr>
          <p:cNvCxnSpPr/>
          <p:nvPr userDrawn="1"/>
        </p:nvCxnSpPr>
        <p:spPr>
          <a:xfrm flipH="1"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latshållare för bildnummer 5">
            <a:extLst>
              <a:ext uri="{FF2B5EF4-FFF2-40B4-BE49-F238E27FC236}">
                <a16:creationId xmlns:a16="http://schemas.microsoft.com/office/drawing/2014/main" id="{39D06B9E-ABED-4577-BA57-B84D6B0AF5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4" name="MSIPCMContentMarking" descr="{&quot;HashCode&quot;:1010195664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6CBA7403-5CD1-42A1-8CFD-6B9F944F3AC5}"/>
              </a:ext>
            </a:extLst>
          </p:cNvPr>
          <p:cNvSpPr txBox="1"/>
          <p:nvPr userDrawn="1"/>
        </p:nvSpPr>
        <p:spPr>
          <a:xfrm>
            <a:off x="0" y="6595656"/>
            <a:ext cx="100714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Essity Internal</a:t>
            </a:r>
          </a:p>
        </p:txBody>
      </p:sp>
    </p:spTree>
    <p:extLst>
      <p:ext uri="{BB962C8B-B14F-4D97-AF65-F5344CB8AC3E}">
        <p14:creationId xmlns:p14="http://schemas.microsoft.com/office/powerpoint/2010/main" val="212152562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158">
          <p15:clr>
            <a:srgbClr val="FBAE40"/>
          </p15:clr>
        </p15:guide>
        <p15:guide id="3" pos="5602">
          <p15:clr>
            <a:srgbClr val="FBAE40"/>
          </p15:clr>
        </p15:guide>
        <p15:guide id="4" orient="horz" pos="3083">
          <p15:clr>
            <a:srgbClr val="FBAE40"/>
          </p15:clr>
        </p15:guide>
        <p15:guide id="5" orient="horz" pos="2743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photo light green_blu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1C9D1A1-0D12-4794-B513-FA13584EF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0555493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1C9D1A1-0D12-4794-B513-FA13584EF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3FAEB0AB-E831-4F3F-B32B-1F88B1DBD9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Platshållare för bild 9"/>
          <p:cNvSpPr>
            <a:spLocks noGrp="1"/>
          </p:cNvSpPr>
          <p:nvPr>
            <p:ph type="pic" sz="quarter" idx="14" hasCustomPrompt="1"/>
          </p:nvPr>
        </p:nvSpPr>
        <p:spPr>
          <a:xfrm>
            <a:off x="6130977" y="3"/>
            <a:ext cx="6061024" cy="6316132"/>
          </a:xfrm>
          <a:noFill/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2" y="-1"/>
            <a:ext cx="6130977" cy="6316132"/>
          </a:xfrm>
          <a:prstGeom prst="rect">
            <a:avLst/>
          </a:prstGeom>
          <a:solidFill>
            <a:srgbClr val="43B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1" err="1">
              <a:solidFill>
                <a:schemeClr val="tx2"/>
              </a:solidFill>
            </a:endParaRP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344294" y="3049589"/>
            <a:ext cx="5561833" cy="16557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15" name="Rubrik 1">
            <a:extLst>
              <a:ext uri="{FF2B5EF4-FFF2-40B4-BE49-F238E27FC236}">
                <a16:creationId xmlns:a16="http://schemas.microsoft.com/office/drawing/2014/main" id="{F2C8CE33-0DE2-4706-B109-07D534E535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6" y="289833"/>
            <a:ext cx="5571161" cy="1764200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en-US" noProof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14" name="Logo">
            <a:extLst>
              <a:ext uri="{FF2B5EF4-FFF2-40B4-BE49-F238E27FC236}">
                <a16:creationId xmlns:a16="http://schemas.microsoft.com/office/drawing/2014/main" id="{700156F9-7D30-4120-A024-5C580380CE1C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0655302" y="209552"/>
            <a:ext cx="1238400" cy="855034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16" name="Rectangle 9">
            <a:extLst>
              <a:ext uri="{FF2B5EF4-FFF2-40B4-BE49-F238E27FC236}">
                <a16:creationId xmlns:a16="http://schemas.microsoft.com/office/drawing/2014/main" id="{F2D19245-1FB5-4911-AEC1-882336EA5793}"/>
              </a:ext>
            </a:extLst>
          </p:cNvPr>
          <p:cNvSpPr/>
          <p:nvPr userDrawn="1"/>
        </p:nvSpPr>
        <p:spPr>
          <a:xfrm>
            <a:off x="-3641428" y="4600895"/>
            <a:ext cx="3529003" cy="10650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 anchorCtr="0"/>
          <a:lstStyle/>
          <a:p>
            <a:pPr algn="l"/>
            <a:r>
              <a:rPr lang="en-US" sz="1400" b="0" i="0" kern="1200" noProof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Template slide available with white and blue logo. Go to Layout to change on existing slide.</a:t>
            </a:r>
          </a:p>
        </p:txBody>
      </p:sp>
      <p:sp>
        <p:nvSpPr>
          <p:cNvPr id="17" name="TextBox 11">
            <a:extLst>
              <a:ext uri="{FF2B5EF4-FFF2-40B4-BE49-F238E27FC236}">
                <a16:creationId xmlns:a16="http://schemas.microsoft.com/office/drawing/2014/main" id="{8EEFFEB1-DCC6-41D8-B733-D1FE1697177B}"/>
              </a:ext>
            </a:extLst>
          </p:cNvPr>
          <p:cNvSpPr txBox="1"/>
          <p:nvPr userDrawn="1"/>
        </p:nvSpPr>
        <p:spPr>
          <a:xfrm>
            <a:off x="-3641429" y="-49389"/>
            <a:ext cx="3483385" cy="44012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nge image: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lete the existing image. 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1400">
              <a:solidFill>
                <a:srgbClr val="00205B"/>
              </a:solidFill>
              <a:latin typeface="+mn-lt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d image: </a:t>
            </a:r>
            <a:endParaRPr lang="en-US" sz="1400">
              <a:solidFill>
                <a:srgbClr val="00205B"/>
              </a:solidFill>
              <a:latin typeface="+mn-lt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adline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y be used in white, core blue or core cyan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ke sure the text and both Tork and Essity logos are clearly visible. </a:t>
            </a:r>
          </a:p>
        </p:txBody>
      </p:sp>
      <p:sp>
        <p:nvSpPr>
          <p:cNvPr id="18" name="Platshållare för datum 3">
            <a:extLst>
              <a:ext uri="{FF2B5EF4-FFF2-40B4-BE49-F238E27FC236}">
                <a16:creationId xmlns:a16="http://schemas.microsoft.com/office/drawing/2014/main" id="{EEEB9B67-C714-4EF2-A8B1-19BEF06322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9" name="Platshållare för sidfot 4">
            <a:extLst>
              <a:ext uri="{FF2B5EF4-FFF2-40B4-BE49-F238E27FC236}">
                <a16:creationId xmlns:a16="http://schemas.microsoft.com/office/drawing/2014/main" id="{6385EC22-FC73-4592-BB81-58E8835F7C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6029" y="6399543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cxnSp>
        <p:nvCxnSpPr>
          <p:cNvPr id="20" name="Rak koppling 19">
            <a:extLst>
              <a:ext uri="{FF2B5EF4-FFF2-40B4-BE49-F238E27FC236}">
                <a16:creationId xmlns:a16="http://schemas.microsoft.com/office/drawing/2014/main" id="{FA39BC01-C6F3-4676-A49C-481A68CE48C2}"/>
              </a:ext>
            </a:extLst>
          </p:cNvPr>
          <p:cNvCxnSpPr/>
          <p:nvPr userDrawn="1"/>
        </p:nvCxnSpPr>
        <p:spPr>
          <a:xfrm rot="5400000" flipH="1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ak koppling 20">
            <a:extLst>
              <a:ext uri="{FF2B5EF4-FFF2-40B4-BE49-F238E27FC236}">
                <a16:creationId xmlns:a16="http://schemas.microsoft.com/office/drawing/2014/main" id="{8A4236FD-5ED8-4743-ABC7-8AE3BACB4E6C}"/>
              </a:ext>
            </a:extLst>
          </p:cNvPr>
          <p:cNvCxnSpPr/>
          <p:nvPr userDrawn="1"/>
        </p:nvCxnSpPr>
        <p:spPr>
          <a:xfrm flipH="1"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latshållare för bildnummer 5">
            <a:extLst>
              <a:ext uri="{FF2B5EF4-FFF2-40B4-BE49-F238E27FC236}">
                <a16:creationId xmlns:a16="http://schemas.microsoft.com/office/drawing/2014/main" id="{B525A0F1-8403-472D-8A02-30545D5F5F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2923703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158">
          <p15:clr>
            <a:srgbClr val="FBAE40"/>
          </p15:clr>
        </p15:guide>
        <p15:guide id="3" pos="5602">
          <p15:clr>
            <a:srgbClr val="FBAE40"/>
          </p15:clr>
        </p15:guide>
        <p15:guide id="4" orient="horz" pos="3083">
          <p15:clr>
            <a:srgbClr val="FBAE40"/>
          </p15:clr>
        </p15:guide>
        <p15:guide id="5" orient="horz" pos="274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 with photo light green,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1C9D1A1-0D12-4794-B513-FA13584EF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0802024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1C9D1A1-0D12-4794-B513-FA13584EF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3FAEB0AB-E831-4F3F-B32B-1F88B1DBD9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Platshållare för bild 9"/>
          <p:cNvSpPr>
            <a:spLocks noGrp="1"/>
          </p:cNvSpPr>
          <p:nvPr>
            <p:ph type="pic" sz="quarter" idx="14" hasCustomPrompt="1"/>
          </p:nvPr>
        </p:nvSpPr>
        <p:spPr>
          <a:xfrm>
            <a:off x="6130977" y="3"/>
            <a:ext cx="6061024" cy="6316132"/>
          </a:xfrm>
          <a:noFill/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2" y="-1"/>
            <a:ext cx="6130977" cy="6316132"/>
          </a:xfrm>
          <a:prstGeom prst="rect">
            <a:avLst/>
          </a:prstGeom>
          <a:solidFill>
            <a:srgbClr val="43B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1" err="1">
              <a:solidFill>
                <a:schemeClr val="tx2"/>
              </a:solidFill>
            </a:endParaRP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344294" y="3049589"/>
            <a:ext cx="5561833" cy="16557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12" name="Rubrik 1">
            <a:extLst>
              <a:ext uri="{FF2B5EF4-FFF2-40B4-BE49-F238E27FC236}">
                <a16:creationId xmlns:a16="http://schemas.microsoft.com/office/drawing/2014/main" id="{A3C485FE-E480-4D57-A926-4A3DF9645B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6" y="289833"/>
            <a:ext cx="5571161" cy="1764200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en-US" noProof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0E45734E-AC33-44D1-9518-A3AA02E735A4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0655302" y="209552"/>
            <a:ext cx="1238400" cy="855034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16" name="Rectangle 9">
            <a:extLst>
              <a:ext uri="{FF2B5EF4-FFF2-40B4-BE49-F238E27FC236}">
                <a16:creationId xmlns:a16="http://schemas.microsoft.com/office/drawing/2014/main" id="{ABBDCEBD-6045-4BC4-A4B1-010D586173E5}"/>
              </a:ext>
            </a:extLst>
          </p:cNvPr>
          <p:cNvSpPr/>
          <p:nvPr userDrawn="1"/>
        </p:nvSpPr>
        <p:spPr>
          <a:xfrm>
            <a:off x="-3641428" y="4600895"/>
            <a:ext cx="3529003" cy="10650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 anchorCtr="0"/>
          <a:lstStyle/>
          <a:p>
            <a:pPr algn="l"/>
            <a:r>
              <a:rPr lang="en-US" sz="1400" b="0" i="0" kern="1200" noProof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Template slide available with white and blue logo. Go to Layout to change on existing slide.</a:t>
            </a:r>
          </a:p>
        </p:txBody>
      </p:sp>
      <p:sp>
        <p:nvSpPr>
          <p:cNvPr id="17" name="TextBox 11">
            <a:extLst>
              <a:ext uri="{FF2B5EF4-FFF2-40B4-BE49-F238E27FC236}">
                <a16:creationId xmlns:a16="http://schemas.microsoft.com/office/drawing/2014/main" id="{6036BC77-21C3-44A5-9515-D9656AD4831C}"/>
              </a:ext>
            </a:extLst>
          </p:cNvPr>
          <p:cNvSpPr txBox="1"/>
          <p:nvPr userDrawn="1"/>
        </p:nvSpPr>
        <p:spPr>
          <a:xfrm>
            <a:off x="-3641429" y="-49389"/>
            <a:ext cx="3483385" cy="44012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nge image: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lete the existing image. 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1400">
              <a:solidFill>
                <a:srgbClr val="00205B"/>
              </a:solidFill>
              <a:latin typeface="+mn-lt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d image: </a:t>
            </a:r>
            <a:endParaRPr lang="en-US" sz="1400">
              <a:solidFill>
                <a:srgbClr val="00205B"/>
              </a:solidFill>
              <a:latin typeface="+mn-lt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adline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y be used in white, core blue or core cyan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ke sure the text and both Tork and Essity logos are clearly visible. </a:t>
            </a:r>
          </a:p>
        </p:txBody>
      </p:sp>
      <p:sp>
        <p:nvSpPr>
          <p:cNvPr id="18" name="Platshållare för datum 3">
            <a:extLst>
              <a:ext uri="{FF2B5EF4-FFF2-40B4-BE49-F238E27FC236}">
                <a16:creationId xmlns:a16="http://schemas.microsoft.com/office/drawing/2014/main" id="{12307B59-2461-4F7F-A9BC-D56A37DF14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9" name="Platshållare för sidfot 4">
            <a:extLst>
              <a:ext uri="{FF2B5EF4-FFF2-40B4-BE49-F238E27FC236}">
                <a16:creationId xmlns:a16="http://schemas.microsoft.com/office/drawing/2014/main" id="{67F62F26-50E7-4323-84CD-6F43A4D01A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6029" y="6399543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cxnSp>
        <p:nvCxnSpPr>
          <p:cNvPr id="20" name="Rak koppling 19">
            <a:extLst>
              <a:ext uri="{FF2B5EF4-FFF2-40B4-BE49-F238E27FC236}">
                <a16:creationId xmlns:a16="http://schemas.microsoft.com/office/drawing/2014/main" id="{D086258C-BF01-4C77-B6B9-4DF64CBFAE98}"/>
              </a:ext>
            </a:extLst>
          </p:cNvPr>
          <p:cNvCxnSpPr/>
          <p:nvPr userDrawn="1"/>
        </p:nvCxnSpPr>
        <p:spPr>
          <a:xfrm rot="5400000" flipH="1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ak koppling 20">
            <a:extLst>
              <a:ext uri="{FF2B5EF4-FFF2-40B4-BE49-F238E27FC236}">
                <a16:creationId xmlns:a16="http://schemas.microsoft.com/office/drawing/2014/main" id="{94E486B4-CE24-47F9-BF1B-066B6AF79888}"/>
              </a:ext>
            </a:extLst>
          </p:cNvPr>
          <p:cNvCxnSpPr/>
          <p:nvPr userDrawn="1"/>
        </p:nvCxnSpPr>
        <p:spPr>
          <a:xfrm flipH="1"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latshållare för bildnummer 5">
            <a:extLst>
              <a:ext uri="{FF2B5EF4-FFF2-40B4-BE49-F238E27FC236}">
                <a16:creationId xmlns:a16="http://schemas.microsoft.com/office/drawing/2014/main" id="{8243386F-1BED-4AE7-BE9F-BE23C74E17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8158429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158">
          <p15:clr>
            <a:srgbClr val="FBAE40"/>
          </p15:clr>
        </p15:guide>
        <p15:guide id="3" pos="5602">
          <p15:clr>
            <a:srgbClr val="FBAE40"/>
          </p15:clr>
        </p15:guide>
        <p15:guide id="4" orient="horz" pos="3083">
          <p15:clr>
            <a:srgbClr val="FBAE40"/>
          </p15:clr>
        </p15:guide>
        <p15:guide id="5" orient="horz" pos="2743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photo blue_blu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34D9957-FA4C-4752-8076-EE1003C808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8385003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34D9957-FA4C-4752-8076-EE1003C808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D89D9914-E088-4724-841A-61A438BACE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Platshållare för bild 9"/>
          <p:cNvSpPr>
            <a:spLocks noGrp="1"/>
          </p:cNvSpPr>
          <p:nvPr>
            <p:ph type="pic" sz="quarter" idx="14" hasCustomPrompt="1"/>
          </p:nvPr>
        </p:nvSpPr>
        <p:spPr>
          <a:xfrm>
            <a:off x="6130979" y="3"/>
            <a:ext cx="6061023" cy="6316132"/>
          </a:xfrm>
          <a:noFill/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2" y="0"/>
            <a:ext cx="6130977" cy="6316133"/>
          </a:xfrm>
          <a:prstGeom prst="rect">
            <a:avLst/>
          </a:prstGeom>
          <a:solidFill>
            <a:srgbClr val="002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1" err="1">
              <a:solidFill>
                <a:schemeClr val="tx2"/>
              </a:solidFill>
            </a:endParaRP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344294" y="3049589"/>
            <a:ext cx="5561833" cy="16557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B924D74B-C020-43A8-864B-6FF7301C4108}"/>
              </a:ext>
            </a:extLst>
          </p:cNvPr>
          <p:cNvSpPr/>
          <p:nvPr userDrawn="1"/>
        </p:nvSpPr>
        <p:spPr>
          <a:xfrm>
            <a:off x="-3641428" y="4600895"/>
            <a:ext cx="3529003" cy="10650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 anchorCtr="0"/>
          <a:lstStyle/>
          <a:p>
            <a:pPr algn="l"/>
            <a:r>
              <a:rPr lang="en-US" sz="1400" b="0" i="0" kern="1200" noProof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Template slide available with white and blue logo. Go to Layout to change on existing slide.</a:t>
            </a:r>
          </a:p>
        </p:txBody>
      </p:sp>
      <p:sp>
        <p:nvSpPr>
          <p:cNvPr id="13" name="TextBox 11">
            <a:extLst>
              <a:ext uri="{FF2B5EF4-FFF2-40B4-BE49-F238E27FC236}">
                <a16:creationId xmlns:a16="http://schemas.microsoft.com/office/drawing/2014/main" id="{F8800169-C97D-48A7-AA4C-2A23C1023C92}"/>
              </a:ext>
            </a:extLst>
          </p:cNvPr>
          <p:cNvSpPr txBox="1"/>
          <p:nvPr userDrawn="1"/>
        </p:nvSpPr>
        <p:spPr>
          <a:xfrm>
            <a:off x="-3641429" y="-49389"/>
            <a:ext cx="3483385" cy="44012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nge image: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lete the existing image. 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1400">
              <a:solidFill>
                <a:srgbClr val="00205B"/>
              </a:solidFill>
              <a:latin typeface="+mn-lt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d image: </a:t>
            </a:r>
            <a:endParaRPr lang="en-US" sz="1400">
              <a:solidFill>
                <a:srgbClr val="00205B"/>
              </a:solidFill>
              <a:latin typeface="+mn-lt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adline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y be used in white, core blue or core cyan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ke sure the text and both Tork and Essity logos are clearly visible. </a:t>
            </a:r>
          </a:p>
        </p:txBody>
      </p:sp>
      <p:sp>
        <p:nvSpPr>
          <p:cNvPr id="15" name="Rubrik 1">
            <a:extLst>
              <a:ext uri="{FF2B5EF4-FFF2-40B4-BE49-F238E27FC236}">
                <a16:creationId xmlns:a16="http://schemas.microsoft.com/office/drawing/2014/main" id="{8E391666-9E35-4DF3-80F3-365871BF86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6" y="289833"/>
            <a:ext cx="5571161" cy="1764200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en-US" noProof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14" name="Logo">
            <a:extLst>
              <a:ext uri="{FF2B5EF4-FFF2-40B4-BE49-F238E27FC236}">
                <a16:creationId xmlns:a16="http://schemas.microsoft.com/office/drawing/2014/main" id="{C88BBDC9-3606-4269-99CA-DBF7050E975B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0655302" y="209552"/>
            <a:ext cx="1238400" cy="855034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16" name="Platshållare för datum 3">
            <a:extLst>
              <a:ext uri="{FF2B5EF4-FFF2-40B4-BE49-F238E27FC236}">
                <a16:creationId xmlns:a16="http://schemas.microsoft.com/office/drawing/2014/main" id="{4358DC31-4B6D-4318-8B01-7757794870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7" name="Platshållare för sidfot 4">
            <a:extLst>
              <a:ext uri="{FF2B5EF4-FFF2-40B4-BE49-F238E27FC236}">
                <a16:creationId xmlns:a16="http://schemas.microsoft.com/office/drawing/2014/main" id="{A823DEAD-CB2F-4A4B-9C96-D0254FD96A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6029" y="6399543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cxnSp>
        <p:nvCxnSpPr>
          <p:cNvPr id="18" name="Rak koppling 17">
            <a:extLst>
              <a:ext uri="{FF2B5EF4-FFF2-40B4-BE49-F238E27FC236}">
                <a16:creationId xmlns:a16="http://schemas.microsoft.com/office/drawing/2014/main" id="{BA9EDB68-F46D-499D-A466-C6B154844542}"/>
              </a:ext>
            </a:extLst>
          </p:cNvPr>
          <p:cNvCxnSpPr/>
          <p:nvPr userDrawn="1"/>
        </p:nvCxnSpPr>
        <p:spPr>
          <a:xfrm rot="5400000" flipH="1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ak koppling 18">
            <a:extLst>
              <a:ext uri="{FF2B5EF4-FFF2-40B4-BE49-F238E27FC236}">
                <a16:creationId xmlns:a16="http://schemas.microsoft.com/office/drawing/2014/main" id="{13218032-C4CF-43A5-B889-0456D12AAB7D}"/>
              </a:ext>
            </a:extLst>
          </p:cNvPr>
          <p:cNvCxnSpPr/>
          <p:nvPr userDrawn="1"/>
        </p:nvCxnSpPr>
        <p:spPr>
          <a:xfrm flipH="1"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latshållare för bildnummer 5">
            <a:extLst>
              <a:ext uri="{FF2B5EF4-FFF2-40B4-BE49-F238E27FC236}">
                <a16:creationId xmlns:a16="http://schemas.microsoft.com/office/drawing/2014/main" id="{08D9744F-7638-4618-A19C-A90AD96826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660155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158">
          <p15:clr>
            <a:srgbClr val="FBAE40"/>
          </p15:clr>
        </p15:guide>
        <p15:guide id="3" pos="5602">
          <p15:clr>
            <a:srgbClr val="FBAE40"/>
          </p15:clr>
        </p15:guide>
        <p15:guide id="4" orient="horz" pos="3083">
          <p15:clr>
            <a:srgbClr val="FBAE40"/>
          </p15:clr>
        </p15:guide>
        <p15:guide id="5" orient="horz" pos="274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photo blue,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datum 3">
            <a:extLst>
              <a:ext uri="{FF2B5EF4-FFF2-40B4-BE49-F238E27FC236}">
                <a16:creationId xmlns:a16="http://schemas.microsoft.com/office/drawing/2014/main" id="{CC97B68B-09AE-44B7-BC5D-DDF6FB2B8D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34D9957-FA4C-4752-8076-EE1003C808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6607878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34D9957-FA4C-4752-8076-EE1003C808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D89D9914-E088-4724-841A-61A438BACE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Platshållare för bild 9"/>
          <p:cNvSpPr>
            <a:spLocks noGrp="1"/>
          </p:cNvSpPr>
          <p:nvPr>
            <p:ph type="pic" sz="quarter" idx="14" hasCustomPrompt="1"/>
          </p:nvPr>
        </p:nvSpPr>
        <p:spPr>
          <a:xfrm>
            <a:off x="6130979" y="3"/>
            <a:ext cx="6061023" cy="6316132"/>
          </a:xfrm>
          <a:noFill/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2" y="0"/>
            <a:ext cx="6130977" cy="6316133"/>
          </a:xfrm>
          <a:prstGeom prst="rect">
            <a:avLst/>
          </a:prstGeom>
          <a:solidFill>
            <a:srgbClr val="002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1" err="1">
              <a:solidFill>
                <a:schemeClr val="tx2"/>
              </a:solidFill>
            </a:endParaRP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344294" y="3049589"/>
            <a:ext cx="5561833" cy="16557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13" name="Rubrik 1">
            <a:extLst>
              <a:ext uri="{FF2B5EF4-FFF2-40B4-BE49-F238E27FC236}">
                <a16:creationId xmlns:a16="http://schemas.microsoft.com/office/drawing/2014/main" id="{8408C4D8-D4B4-41A4-A354-28BE31394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6" y="289833"/>
            <a:ext cx="5571161" cy="1764200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en-US" noProof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title</a:t>
            </a:r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1657F5BE-203E-4BB4-8D4D-BB10DCA55ABD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0655302" y="209552"/>
            <a:ext cx="1238400" cy="855034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16" name="Rectangle 9">
            <a:extLst>
              <a:ext uri="{FF2B5EF4-FFF2-40B4-BE49-F238E27FC236}">
                <a16:creationId xmlns:a16="http://schemas.microsoft.com/office/drawing/2014/main" id="{E55A512C-052B-4CD6-91FE-7C01C171100B}"/>
              </a:ext>
            </a:extLst>
          </p:cNvPr>
          <p:cNvSpPr/>
          <p:nvPr userDrawn="1"/>
        </p:nvSpPr>
        <p:spPr>
          <a:xfrm>
            <a:off x="-3641428" y="4600895"/>
            <a:ext cx="3529003" cy="10650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 anchorCtr="0"/>
          <a:lstStyle/>
          <a:p>
            <a:pPr algn="l"/>
            <a:r>
              <a:rPr lang="en-US" sz="1400" b="0" i="0" kern="1200" noProof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Template slide available with white and blue logo. Go to Layout to change on existing slide.</a:t>
            </a:r>
          </a:p>
        </p:txBody>
      </p:sp>
      <p:sp>
        <p:nvSpPr>
          <p:cNvPr id="17" name="TextBox 11">
            <a:extLst>
              <a:ext uri="{FF2B5EF4-FFF2-40B4-BE49-F238E27FC236}">
                <a16:creationId xmlns:a16="http://schemas.microsoft.com/office/drawing/2014/main" id="{AE55281B-9D1C-4097-A266-8992306AB3EB}"/>
              </a:ext>
            </a:extLst>
          </p:cNvPr>
          <p:cNvSpPr txBox="1"/>
          <p:nvPr userDrawn="1"/>
        </p:nvSpPr>
        <p:spPr>
          <a:xfrm>
            <a:off x="-3641429" y="-49389"/>
            <a:ext cx="3483385" cy="44012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nge image: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lete the existing image. 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1400">
              <a:solidFill>
                <a:srgbClr val="00205B"/>
              </a:solidFill>
              <a:latin typeface="+mn-lt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d image: </a:t>
            </a:r>
            <a:endParaRPr lang="en-US" sz="1400">
              <a:solidFill>
                <a:srgbClr val="00205B"/>
              </a:solidFill>
              <a:latin typeface="+mn-lt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adline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y be used in white, core blue or core cyan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ke sure the text and both Tork and Essity logos are clearly visible. </a:t>
            </a:r>
          </a:p>
        </p:txBody>
      </p:sp>
      <p:sp>
        <p:nvSpPr>
          <p:cNvPr id="19" name="Platshållare för sidfot 4">
            <a:extLst>
              <a:ext uri="{FF2B5EF4-FFF2-40B4-BE49-F238E27FC236}">
                <a16:creationId xmlns:a16="http://schemas.microsoft.com/office/drawing/2014/main" id="{217693DC-133A-4D11-B442-7AA1990CE2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6029" y="6399543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cxnSp>
        <p:nvCxnSpPr>
          <p:cNvPr id="20" name="Rak koppling 19">
            <a:extLst>
              <a:ext uri="{FF2B5EF4-FFF2-40B4-BE49-F238E27FC236}">
                <a16:creationId xmlns:a16="http://schemas.microsoft.com/office/drawing/2014/main" id="{573B09A5-6F87-43F2-AC61-27970B0C00E5}"/>
              </a:ext>
            </a:extLst>
          </p:cNvPr>
          <p:cNvCxnSpPr/>
          <p:nvPr userDrawn="1"/>
        </p:nvCxnSpPr>
        <p:spPr>
          <a:xfrm rot="5400000" flipH="1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ak koppling 20">
            <a:extLst>
              <a:ext uri="{FF2B5EF4-FFF2-40B4-BE49-F238E27FC236}">
                <a16:creationId xmlns:a16="http://schemas.microsoft.com/office/drawing/2014/main" id="{421935FB-21A4-4E9C-B88F-C2268B61945B}"/>
              </a:ext>
            </a:extLst>
          </p:cNvPr>
          <p:cNvCxnSpPr/>
          <p:nvPr userDrawn="1"/>
        </p:nvCxnSpPr>
        <p:spPr>
          <a:xfrm flipH="1"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latshållare för bildnummer 5">
            <a:extLst>
              <a:ext uri="{FF2B5EF4-FFF2-40B4-BE49-F238E27FC236}">
                <a16:creationId xmlns:a16="http://schemas.microsoft.com/office/drawing/2014/main" id="{E591B4F2-E2E2-4DDF-A285-590B1812EB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4372466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158">
          <p15:clr>
            <a:srgbClr val="FBAE40"/>
          </p15:clr>
        </p15:guide>
        <p15:guide id="3" pos="5602">
          <p15:clr>
            <a:srgbClr val="FBAE40"/>
          </p15:clr>
        </p15:guide>
        <p15:guide id="4" orient="horz" pos="3083">
          <p15:clr>
            <a:srgbClr val="FBAE40"/>
          </p15:clr>
        </p15:guide>
        <p15:guide id="5" orient="horz" pos="2743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ntent box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7C9454D-5A02-4275-AE57-FC70F0800B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450181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7C9454D-5A02-4275-AE57-FC70F0800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942E958A-14AE-4F9E-97A3-114F2BA3B3B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334965" y="1773239"/>
            <a:ext cx="7886699" cy="4525966"/>
          </a:xfrm>
          <a:solidFill>
            <a:schemeClr val="bg2"/>
          </a:solidFill>
        </p:spPr>
        <p:txBody>
          <a:bodyPr lIns="144000" tIns="144000" rIns="144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14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32" y="6399544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chemeClr val="tx2"/>
              </a:solidFill>
            </a:endParaRPr>
          </a:p>
        </p:txBody>
      </p:sp>
      <p:cxnSp>
        <p:nvCxnSpPr>
          <p:cNvPr id="16" name="Rak koppling 15"/>
          <p:cNvCxnSpPr/>
          <p:nvPr userDrawn="1"/>
        </p:nvCxnSpPr>
        <p:spPr>
          <a:xfrm rot="5400000" flipH="1">
            <a:off x="-287337" y="6186447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ak koppling 16"/>
          <p:cNvCxnSpPr/>
          <p:nvPr userDrawn="1"/>
        </p:nvCxnSpPr>
        <p:spPr>
          <a:xfrm flipH="1">
            <a:off x="334963" y="6946902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tshållare för datum 3"/>
          <p:cNvSpPr>
            <a:spLocks noGrp="1"/>
          </p:cNvSpPr>
          <p:nvPr>
            <p:ph type="dt" sz="half" idx="14"/>
          </p:nvPr>
        </p:nvSpPr>
        <p:spPr>
          <a:xfrm>
            <a:off x="334966" y="6399544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0" y="6399544"/>
            <a:ext cx="24765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43C4815-BFFB-491E-9524-E90F65DD58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437798" y="1756906"/>
            <a:ext cx="3419241" cy="4562890"/>
          </a:xfrm>
          <a:custGeom>
            <a:avLst/>
            <a:gdLst>
              <a:gd name="connsiteX0" fmla="*/ 1165 w 4118499"/>
              <a:gd name="connsiteY0" fmla="*/ 0 h 4356199"/>
              <a:gd name="connsiteX1" fmla="*/ 4118499 w 4118499"/>
              <a:gd name="connsiteY1" fmla="*/ 4861 h 4356199"/>
              <a:gd name="connsiteX2" fmla="*/ 4118499 w 4118499"/>
              <a:gd name="connsiteY2" fmla="*/ 4861 h 4356199"/>
              <a:gd name="connsiteX3" fmla="*/ 4118499 w 4118499"/>
              <a:gd name="connsiteY3" fmla="*/ 3670385 h 4356199"/>
              <a:gd name="connsiteX4" fmla="*/ 3432685 w 4118499"/>
              <a:gd name="connsiteY4" fmla="*/ 4356199 h 4356199"/>
              <a:gd name="connsiteX5" fmla="*/ 3699 w 4118499"/>
              <a:gd name="connsiteY5" fmla="*/ 4356199 h 4356199"/>
              <a:gd name="connsiteX6" fmla="*/ 3699 w 4118499"/>
              <a:gd name="connsiteY6" fmla="*/ 4356199 h 4356199"/>
              <a:gd name="connsiteX7" fmla="*/ 1165 w 4118499"/>
              <a:gd name="connsiteY7" fmla="*/ 0 h 4356199"/>
              <a:gd name="connsiteX8" fmla="*/ 202522 w 4207241"/>
              <a:gd name="connsiteY8" fmla="*/ 0 h 4351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18499" h="4356199">
                <a:moveTo>
                  <a:pt x="1165" y="0"/>
                </a:moveTo>
                <a:cubicBezTo>
                  <a:pt x="-1165" y="5854"/>
                  <a:pt x="2746054" y="8532"/>
                  <a:pt x="4118499" y="4861"/>
                </a:cubicBezTo>
                <a:lnTo>
                  <a:pt x="4118499" y="4861"/>
                </a:lnTo>
                <a:lnTo>
                  <a:pt x="4118499" y="3670385"/>
                </a:lnTo>
                <a:cubicBezTo>
                  <a:pt x="4118499" y="4049150"/>
                  <a:pt x="3811450" y="4356199"/>
                  <a:pt x="3432685" y="4356199"/>
                </a:cubicBezTo>
                <a:lnTo>
                  <a:pt x="3699" y="4356199"/>
                </a:lnTo>
                <a:lnTo>
                  <a:pt x="3699" y="4356199"/>
                </a:lnTo>
                <a:cubicBezTo>
                  <a:pt x="4409" y="2907870"/>
                  <a:pt x="-2720" y="3704"/>
                  <a:pt x="116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   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253EAD63-04CC-47D3-B52B-817B14A25A29}"/>
              </a:ext>
            </a:extLst>
          </p:cNvPr>
          <p:cNvSpPr/>
          <p:nvPr userDrawn="1"/>
        </p:nvSpPr>
        <p:spPr>
          <a:xfrm>
            <a:off x="-2893834" y="1"/>
            <a:ext cx="2703444" cy="18446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 anchorCtr="0"/>
          <a:lstStyle/>
          <a:p>
            <a:pPr algn="l"/>
            <a:r>
              <a:rPr lang="en-US" sz="1400" b="0" i="0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 add an image in the curved box, click on the image icon and choose your image.</a:t>
            </a:r>
            <a:br>
              <a:rPr lang="en-US" sz="1400" noProof="0">
                <a:solidFill>
                  <a:schemeClr val="tx1"/>
                </a:solidFill>
              </a:rPr>
            </a:br>
            <a:br>
              <a:rPr lang="en-US" sz="1400" noProof="0">
                <a:solidFill>
                  <a:schemeClr val="tx1"/>
                </a:solidFill>
              </a:rPr>
            </a:br>
            <a:r>
              <a:rPr lang="en-US" sz="1400" b="0" i="0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 change image click on the image and delete it, then do as above.</a:t>
            </a:r>
            <a:endParaRPr lang="en-US" sz="1400" noProof="0">
              <a:solidFill>
                <a:schemeClr val="tx1"/>
              </a:solidFill>
            </a:endParaRPr>
          </a:p>
        </p:txBody>
      </p:sp>
      <p:sp>
        <p:nvSpPr>
          <p:cNvPr id="21" name="Platshållare för text 7">
            <a:extLst>
              <a:ext uri="{FF2B5EF4-FFF2-40B4-BE49-F238E27FC236}">
                <a16:creationId xmlns:a16="http://schemas.microsoft.com/office/drawing/2014/main" id="{F490D1DF-DFFB-48B6-B2A2-FC2A26EC8A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5" y="1323976"/>
            <a:ext cx="10237787" cy="390525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None/>
              <a:defRPr lang="en-US" sz="2200" b="0" noProof="0">
                <a:solidFill>
                  <a:schemeClr val="accent1"/>
                </a:solidFill>
              </a:defRPr>
            </a:lvl1pPr>
          </a:lstStyle>
          <a:p>
            <a:pPr marL="0" lvl="0" indent="0">
              <a:buNone/>
            </a:pPr>
            <a:r>
              <a:rPr lang="en-US" noProof="0"/>
              <a:t>Click to add subtitle</a:t>
            </a:r>
          </a:p>
        </p:txBody>
      </p:sp>
      <p:sp>
        <p:nvSpPr>
          <p:cNvPr id="19" name="Platshållare för rubrik 1">
            <a:extLst>
              <a:ext uri="{FF2B5EF4-FFF2-40B4-BE49-F238E27FC236}">
                <a16:creationId xmlns:a16="http://schemas.microsoft.com/office/drawing/2014/main" id="{4F7F1ADE-9BDA-4585-9569-BAAD1FAB8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225425"/>
            <a:ext cx="10209211" cy="106997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784786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2CF4BBB-FC3B-4430-9A23-240AFA4A90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83290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2CF4BBB-FC3B-4430-9A23-240AFA4A90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-5264" y="1"/>
            <a:ext cx="12197264" cy="599606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4" y="2969006"/>
            <a:ext cx="4985180" cy="9144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  <a:endParaRPr lang="nl-NL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7137CBCC-6EB8-4222-BC10-0D0FCAD481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09493" y="6257393"/>
            <a:ext cx="1259689" cy="343651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C866F8C-7266-4434-87FE-C660D0BDCF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97209" y="184138"/>
            <a:ext cx="5022407" cy="914400"/>
          </a:xfrm>
        </p:spPr>
        <p:txBody>
          <a:bodyPr/>
          <a:lstStyle>
            <a:lvl1pPr marL="0" indent="0">
              <a:spcAft>
                <a:spcPct val="0"/>
              </a:spcAft>
              <a:buNone/>
              <a:defRPr sz="5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1">
            <a:extLst>
              <a:ext uri="{FF2B5EF4-FFF2-40B4-BE49-F238E27FC236}">
                <a16:creationId xmlns:a16="http://schemas.microsoft.com/office/drawing/2014/main" id="{46D43FA7-F94C-4041-ABE3-8B1CE37F30C8}"/>
              </a:ext>
            </a:extLst>
          </p:cNvPr>
          <p:cNvSpPr txBox="1"/>
          <p:nvPr userDrawn="1"/>
        </p:nvSpPr>
        <p:spPr>
          <a:xfrm>
            <a:off x="-3641429" y="-49389"/>
            <a:ext cx="3483385" cy="44012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 image: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ete the existing image. 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1400">
              <a:solidFill>
                <a:srgbClr val="00205B"/>
              </a:solidFill>
              <a:latin typeface="Arial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 image: </a:t>
            </a:r>
            <a:endParaRPr lang="en-US" sz="1400">
              <a:solidFill>
                <a:srgbClr val="00205B"/>
              </a:solidFill>
              <a:latin typeface="Arial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dline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y be used in white, core blue or core cyan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ke sure the text and both Tork and Essity logos are clearly visible. </a:t>
            </a:r>
          </a:p>
        </p:txBody>
      </p:sp>
      <p:sp>
        <p:nvSpPr>
          <p:cNvPr id="14" name="Logo">
            <a:extLst>
              <a:ext uri="{FF2B5EF4-FFF2-40B4-BE49-F238E27FC236}">
                <a16:creationId xmlns:a16="http://schemas.microsoft.com/office/drawing/2014/main" id="{D8FAB6D3-7EF9-4D64-BA67-AF7E90505DC1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0655302" y="209552"/>
            <a:ext cx="1238400" cy="855034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00787483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D26C261-E8F1-408C-8F65-A3D8E15FF8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8292652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D26C261-E8F1-408C-8F65-A3D8E15FF8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DA2D0115-AE37-4E3A-9B85-2A43CAA87E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Platshållare för bild 6"/>
          <p:cNvSpPr>
            <a:spLocks noGrp="1"/>
          </p:cNvSpPr>
          <p:nvPr>
            <p:ph type="pic" sz="quarter" idx="13" hasCustomPrompt="1"/>
          </p:nvPr>
        </p:nvSpPr>
        <p:spPr>
          <a:xfrm>
            <a:off x="6108702" y="0"/>
            <a:ext cx="6083300" cy="6324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32" y="6399544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cxnSp>
        <p:nvCxnSpPr>
          <p:cNvPr id="18" name="Rak koppling 17"/>
          <p:cNvCxnSpPr/>
          <p:nvPr userDrawn="1"/>
        </p:nvCxnSpPr>
        <p:spPr>
          <a:xfrm rot="5400000" flipH="1">
            <a:off x="-287337" y="6186447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ak koppling 18"/>
          <p:cNvCxnSpPr/>
          <p:nvPr userDrawn="1"/>
        </p:nvCxnSpPr>
        <p:spPr>
          <a:xfrm flipH="1">
            <a:off x="334963" y="6946902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6" y="6399544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0" y="6399544"/>
            <a:ext cx="24765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55FBEF8D-03FB-44EE-BE5A-A40288A0193D}"/>
              </a:ext>
            </a:extLst>
          </p:cNvPr>
          <p:cNvSpPr/>
          <p:nvPr userDrawn="1"/>
        </p:nvSpPr>
        <p:spPr>
          <a:xfrm>
            <a:off x="-2815870" y="18715"/>
            <a:ext cx="2703444" cy="30432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 anchorCtr="0"/>
          <a:lstStyle/>
          <a:p>
            <a:pPr algn="l"/>
            <a:r>
              <a:rPr lang="en-US" sz="1400" b="0" i="0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mplate slide available with white and blue logo. Go to Layout to change on existing slide.</a:t>
            </a:r>
          </a:p>
          <a:p>
            <a:pPr algn="l"/>
            <a:endParaRPr lang="en-US" sz="1400" b="0" i="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algn="l"/>
            <a:r>
              <a:rPr lang="en-US" sz="1400" b="1">
                <a:solidFill>
                  <a:schemeClr val="tx1"/>
                </a:solidFill>
              </a:rPr>
              <a:t>Change image: </a:t>
            </a:r>
            <a:r>
              <a:rPr lang="en-US" sz="1400" b="0">
                <a:solidFill>
                  <a:schemeClr val="tx1"/>
                </a:solidFill>
              </a:rPr>
              <a:t>by</a:t>
            </a:r>
            <a:r>
              <a:rPr lang="en-US" sz="1400" b="0" baseline="0">
                <a:solidFill>
                  <a:schemeClr val="tx1"/>
                </a:solidFill>
              </a:rPr>
              <a:t> </a:t>
            </a:r>
            <a:r>
              <a:rPr lang="en-US" sz="1400">
                <a:solidFill>
                  <a:schemeClr val="tx1"/>
                </a:solidFill>
              </a:rPr>
              <a:t>deleting the image and follow the above instructions. </a:t>
            </a:r>
          </a:p>
          <a:p>
            <a:pPr algn="l"/>
            <a:endParaRPr lang="en-US" sz="1400">
              <a:solidFill>
                <a:schemeClr val="tx1"/>
              </a:solidFill>
            </a:endParaRPr>
          </a:p>
          <a:p>
            <a:pPr algn="l"/>
            <a:r>
              <a:rPr lang="en-US" sz="1400">
                <a:solidFill>
                  <a:schemeClr val="tx1"/>
                </a:solidFill>
              </a:rPr>
              <a:t>If title text disappears click on “Reset” in the Start menu to reorder the slides building blocks</a:t>
            </a:r>
          </a:p>
          <a:p>
            <a:pPr algn="l"/>
            <a:endParaRPr lang="en-US" sz="1400" b="0" i="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21" name="Platshållare för text 7">
            <a:extLst>
              <a:ext uri="{FF2B5EF4-FFF2-40B4-BE49-F238E27FC236}">
                <a16:creationId xmlns:a16="http://schemas.microsoft.com/office/drawing/2014/main" id="{33CE30F3-40FD-4041-A9F1-60BFF6695D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7" y="1323976"/>
            <a:ext cx="5616588" cy="390525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None/>
              <a:defRPr lang="en-US" sz="2200" b="0" noProof="0">
                <a:solidFill>
                  <a:schemeClr val="accent1"/>
                </a:solidFill>
              </a:defRPr>
            </a:lvl1pPr>
          </a:lstStyle>
          <a:p>
            <a:pPr marL="0" lvl="0" indent="0">
              <a:buNone/>
            </a:pPr>
            <a:r>
              <a:rPr lang="en-US" noProof="0"/>
              <a:t>Click to add subtitle</a:t>
            </a:r>
          </a:p>
        </p:txBody>
      </p:sp>
      <p:sp>
        <p:nvSpPr>
          <p:cNvPr id="16" name="Platshållare för rubrik 1">
            <a:extLst>
              <a:ext uri="{FF2B5EF4-FFF2-40B4-BE49-F238E27FC236}">
                <a16:creationId xmlns:a16="http://schemas.microsoft.com/office/drawing/2014/main" id="{076ABE3F-E61C-4848-ADD1-5826CD156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225425"/>
            <a:ext cx="5616589" cy="106997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20" name="Platshållare för innehåll 2">
            <a:extLst>
              <a:ext uri="{FF2B5EF4-FFF2-40B4-BE49-F238E27FC236}">
                <a16:creationId xmlns:a16="http://schemas.microsoft.com/office/drawing/2014/main" id="{97D5A587-B138-4BB8-9D6A-1CD5240E233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34967" y="1773240"/>
            <a:ext cx="5616586" cy="4551362"/>
          </a:xfrm>
        </p:spPr>
        <p:txBody>
          <a:bodyPr vert="horz" lIns="0" tIns="0" rIns="0" bIns="0" rtlCol="0">
            <a:noAutofit/>
          </a:bodyPr>
          <a:lstStyle>
            <a:lvl1pPr>
              <a:defRPr lang="sv-SE"/>
            </a:lvl1pPr>
            <a:lvl2pPr>
              <a:defRPr lang="sv-SE"/>
            </a:lvl2pPr>
            <a:lvl3pPr>
              <a:defRPr lang="sv-SE"/>
            </a:lvl3pPr>
            <a:lvl4pPr>
              <a:defRPr lang="sv-SE"/>
            </a:lvl4pPr>
            <a:lvl5pPr>
              <a:defRPr lang="en-GB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22" name="Logo">
            <a:extLst>
              <a:ext uri="{FF2B5EF4-FFF2-40B4-BE49-F238E27FC236}">
                <a16:creationId xmlns:a16="http://schemas.microsoft.com/office/drawing/2014/main" id="{0A549836-573D-4B66-B1A3-4FD5BA283337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0655302" y="209552"/>
            <a:ext cx="1238400" cy="855034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34356288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D26C261-E8F1-408C-8F65-A3D8E15FF8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41835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D26C261-E8F1-408C-8F65-A3D8E15FF8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DA2D0115-AE37-4E3A-9B85-2A43CAA87E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Platshållare för bild 6"/>
          <p:cNvSpPr>
            <a:spLocks noGrp="1"/>
          </p:cNvSpPr>
          <p:nvPr>
            <p:ph type="pic" sz="quarter" idx="13" hasCustomPrompt="1"/>
          </p:nvPr>
        </p:nvSpPr>
        <p:spPr>
          <a:xfrm>
            <a:off x="6108702" y="0"/>
            <a:ext cx="6083300" cy="6324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Image</a:t>
            </a:r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32" y="6399544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cxnSp>
        <p:nvCxnSpPr>
          <p:cNvPr id="18" name="Rak koppling 17"/>
          <p:cNvCxnSpPr/>
          <p:nvPr userDrawn="1"/>
        </p:nvCxnSpPr>
        <p:spPr>
          <a:xfrm rot="5400000" flipH="1">
            <a:off x="-287337" y="6186447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ak koppling 18"/>
          <p:cNvCxnSpPr/>
          <p:nvPr userDrawn="1"/>
        </p:nvCxnSpPr>
        <p:spPr>
          <a:xfrm flipH="1">
            <a:off x="334963" y="6946902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6" y="6399544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0" y="6399544"/>
            <a:ext cx="24765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D0AEEAAC-F776-44BC-90A4-112ED41885FE}"/>
              </a:ext>
            </a:extLst>
          </p:cNvPr>
          <p:cNvSpPr/>
          <p:nvPr userDrawn="1"/>
        </p:nvSpPr>
        <p:spPr>
          <a:xfrm>
            <a:off x="-2815870" y="18715"/>
            <a:ext cx="2703444" cy="30432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bIns="108000" rtlCol="0" anchor="t" anchorCtr="0"/>
          <a:lstStyle/>
          <a:p>
            <a:pPr algn="l"/>
            <a:r>
              <a:rPr lang="en-US" sz="1400" b="0" i="0" kern="1200" noProof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mplate slide available with white and blue logo. Go to Layout to change on existing slide.</a:t>
            </a:r>
          </a:p>
          <a:p>
            <a:pPr algn="l"/>
            <a:endParaRPr lang="en-US" sz="1400" b="0" i="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algn="l"/>
            <a:r>
              <a:rPr lang="en-US" sz="1400" b="1">
                <a:solidFill>
                  <a:schemeClr val="tx1"/>
                </a:solidFill>
              </a:rPr>
              <a:t>Change image: </a:t>
            </a:r>
            <a:r>
              <a:rPr lang="en-US" sz="1400" b="0">
                <a:solidFill>
                  <a:schemeClr val="tx1"/>
                </a:solidFill>
              </a:rPr>
              <a:t>by</a:t>
            </a:r>
            <a:r>
              <a:rPr lang="en-US" sz="1400" b="0" baseline="0">
                <a:solidFill>
                  <a:schemeClr val="tx1"/>
                </a:solidFill>
              </a:rPr>
              <a:t> </a:t>
            </a:r>
            <a:r>
              <a:rPr lang="en-US" sz="1400">
                <a:solidFill>
                  <a:schemeClr val="tx1"/>
                </a:solidFill>
              </a:rPr>
              <a:t>deleting the image and follow the above instructions. </a:t>
            </a:r>
          </a:p>
          <a:p>
            <a:pPr algn="l"/>
            <a:endParaRPr lang="en-US" sz="1400">
              <a:solidFill>
                <a:schemeClr val="tx1"/>
              </a:solidFill>
            </a:endParaRPr>
          </a:p>
          <a:p>
            <a:pPr algn="l"/>
            <a:r>
              <a:rPr lang="en-US" sz="1400">
                <a:solidFill>
                  <a:schemeClr val="tx1"/>
                </a:solidFill>
              </a:rPr>
              <a:t>If title text disappears click on “Reset” in the Start menu to reorder the slides building blocks</a:t>
            </a:r>
          </a:p>
          <a:p>
            <a:pPr algn="l"/>
            <a:endParaRPr lang="en-US" sz="1400" b="0" i="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22" name="Platshållare för text 7">
            <a:extLst>
              <a:ext uri="{FF2B5EF4-FFF2-40B4-BE49-F238E27FC236}">
                <a16:creationId xmlns:a16="http://schemas.microsoft.com/office/drawing/2014/main" id="{56C81569-071B-4E76-A11A-7815333C48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7" y="1323976"/>
            <a:ext cx="5616588" cy="390525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None/>
              <a:defRPr lang="en-US" sz="2200" b="0" noProof="0">
                <a:solidFill>
                  <a:schemeClr val="accent1"/>
                </a:solidFill>
              </a:defRPr>
            </a:lvl1pPr>
          </a:lstStyle>
          <a:p>
            <a:pPr marL="0" lvl="0" indent="0">
              <a:buNone/>
            </a:pPr>
            <a:r>
              <a:rPr lang="en-US" noProof="0"/>
              <a:t>Click to add subtitle</a:t>
            </a:r>
          </a:p>
        </p:txBody>
      </p:sp>
      <p:sp>
        <p:nvSpPr>
          <p:cNvPr id="16" name="Platshållare för rubrik 1">
            <a:extLst>
              <a:ext uri="{FF2B5EF4-FFF2-40B4-BE49-F238E27FC236}">
                <a16:creationId xmlns:a16="http://schemas.microsoft.com/office/drawing/2014/main" id="{86AF225D-BEFC-4DD2-8F45-80C3D377E6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209552"/>
            <a:ext cx="5475437" cy="1085849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20" name="Platshållare för innehåll 2">
            <a:extLst>
              <a:ext uri="{FF2B5EF4-FFF2-40B4-BE49-F238E27FC236}">
                <a16:creationId xmlns:a16="http://schemas.microsoft.com/office/drawing/2014/main" id="{D7AF81F8-C161-44C7-9473-99057D6EC9C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34967" y="1773240"/>
            <a:ext cx="5616586" cy="4551362"/>
          </a:xfrm>
        </p:spPr>
        <p:txBody>
          <a:bodyPr vert="horz" lIns="0" tIns="0" rIns="0" bIns="0" rtlCol="0">
            <a:noAutofit/>
          </a:bodyPr>
          <a:lstStyle>
            <a:lvl1pPr>
              <a:defRPr lang="sv-SE"/>
            </a:lvl1pPr>
            <a:lvl2pPr>
              <a:defRPr lang="sv-SE"/>
            </a:lvl2pPr>
            <a:lvl3pPr>
              <a:defRPr lang="sv-SE"/>
            </a:lvl3pPr>
            <a:lvl4pPr>
              <a:defRPr lang="sv-SE"/>
            </a:lvl4pPr>
            <a:lvl5pPr>
              <a:defRPr lang="en-GB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23" name="Logo">
            <a:extLst>
              <a:ext uri="{FF2B5EF4-FFF2-40B4-BE49-F238E27FC236}">
                <a16:creationId xmlns:a16="http://schemas.microsoft.com/office/drawing/2014/main" id="{B61C155D-67AE-4298-883E-CC33C2643B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0655302" y="209552"/>
            <a:ext cx="1238400" cy="855034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720000"/>
          <a:lstStyle>
            <a:lvl1pPr>
              <a:defRPr sz="100"/>
            </a:lvl1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8238313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>
            <a:extLst>
              <a:ext uri="{FF2B5EF4-FFF2-40B4-BE49-F238E27FC236}">
                <a16:creationId xmlns:a16="http://schemas.microsoft.com/office/drawing/2014/main" id="{C498B2CD-9BE9-4E51-92DB-650DE30996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11055" y="1575883"/>
            <a:ext cx="4369892" cy="2955791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EC61BEF0-EA13-4322-88C8-D44598984E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5746" y="6462790"/>
            <a:ext cx="901812" cy="246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581987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6188" y="2061895"/>
            <a:ext cx="6972872" cy="2903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61142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-5264" y="0"/>
            <a:ext cx="8025003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297210" y="2973593"/>
            <a:ext cx="3607134" cy="914400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Subtitle</a:t>
            </a:r>
            <a:endParaRPr lang="nl-NL"/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BE7EA2A4-06A5-4C16-987E-D0D3CE04F3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09493" y="6257393"/>
            <a:ext cx="1259689" cy="343651"/>
          </a:xfrm>
          <a:prstGeom prst="rect">
            <a:avLst/>
          </a:prstGeom>
        </p:spPr>
      </p:pic>
      <p:pic>
        <p:nvPicPr>
          <p:cNvPr id="11" name="Bildobjekt 10" descr="En bild som visar clipart&#10;&#10;Automatiskt genererad beskrivning">
            <a:extLst>
              <a:ext uri="{FF2B5EF4-FFF2-40B4-BE49-F238E27FC236}">
                <a16:creationId xmlns:a16="http://schemas.microsoft.com/office/drawing/2014/main" id="{E7AF68F2-BCF8-4F52-8B7F-FC94EE5C9C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3" y="247906"/>
            <a:ext cx="1157349" cy="782833"/>
          </a:xfrm>
          <a:prstGeom prst="rect">
            <a:avLst/>
          </a:prstGeom>
        </p:spPr>
      </p:pic>
      <p:sp>
        <p:nvSpPr>
          <p:cNvPr id="9" name="TextBox 11">
            <a:extLst>
              <a:ext uri="{FF2B5EF4-FFF2-40B4-BE49-F238E27FC236}">
                <a16:creationId xmlns:a16="http://schemas.microsoft.com/office/drawing/2014/main" id="{4D777474-D26B-4ADF-B28D-037CAE815E12}"/>
              </a:ext>
            </a:extLst>
          </p:cNvPr>
          <p:cNvSpPr txBox="1"/>
          <p:nvPr userDrawn="1"/>
        </p:nvSpPr>
        <p:spPr>
          <a:xfrm>
            <a:off x="-3641429" y="-49389"/>
            <a:ext cx="3483385" cy="44012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 image: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ete the existing image. 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sz="1400">
              <a:solidFill>
                <a:srgbClr val="00205B"/>
              </a:solidFill>
              <a:latin typeface="Arial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 image: </a:t>
            </a:r>
            <a:endParaRPr lang="en-US" sz="1400">
              <a:solidFill>
                <a:srgbClr val="00205B"/>
              </a:solidFill>
              <a:latin typeface="Arial"/>
            </a:endParaRP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ck on the image icon and upload selected image.</a:t>
            </a:r>
          </a:p>
          <a:p>
            <a:pPr marL="228589" marR="0" lvl="0" indent="-228589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title text disappears. Click “Reset” in the Start menu to reorder the slides building blocks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dline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y be used in white, core blue or core cyan.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ke sure the text and both Tork and Essity logos are clearly visible. 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6F12C8B-6D49-46A2-8DDC-74C99F8F54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97209" y="184138"/>
            <a:ext cx="5022407" cy="914400"/>
          </a:xfrm>
        </p:spPr>
        <p:txBody>
          <a:bodyPr/>
          <a:lstStyle>
            <a:lvl1pPr marL="0" indent="0">
              <a:spcAft>
                <a:spcPct val="0"/>
              </a:spcAft>
              <a:buNone/>
              <a:defRPr sz="5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00704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3" pos="5065" userDrawn="1">
          <p15:clr>
            <a:srgbClr val="FBAE40"/>
          </p15:clr>
        </p15:guide>
        <p15:guide id="4" orient="horz" pos="3083">
          <p15:clr>
            <a:srgbClr val="FBAE40"/>
          </p15:clr>
        </p15:guide>
        <p15:guide id="5" orient="horz" pos="274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2/3 bl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45C52C9-961A-4413-AB0E-B043639D5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384012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45C52C9-961A-4413-AB0E-B043639D5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6ADC58E9-D679-4C3C-A294-4F95994C431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EAD9EC92-9C2E-439B-AFF7-7E306B03B505}"/>
              </a:ext>
            </a:extLst>
          </p:cNvPr>
          <p:cNvSpPr/>
          <p:nvPr userDrawn="1"/>
        </p:nvSpPr>
        <p:spPr>
          <a:xfrm>
            <a:off x="-2435988" y="914638"/>
            <a:ext cx="2263843" cy="31470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br>
              <a:rPr lang="en-US" sz="1467" b="1">
                <a:solidFill>
                  <a:schemeClr val="tx2"/>
                </a:solidFill>
              </a:rPr>
            </a:br>
            <a:r>
              <a:rPr lang="en-US" sz="1467" b="1">
                <a:solidFill>
                  <a:schemeClr val="tx2"/>
                </a:solidFill>
              </a:rPr>
              <a:t>Option to change text to cyan </a:t>
            </a:r>
            <a:endParaRPr lang="en-US" sz="1467">
              <a:solidFill>
                <a:schemeClr val="tx2"/>
              </a:solidFill>
            </a:endParaRPr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B2019643-3621-4821-B815-D8C55351A03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089110" y="1910629"/>
            <a:ext cx="1260860" cy="970851"/>
          </a:xfrm>
          <a:prstGeom prst="rect">
            <a:avLst/>
          </a:prstGeom>
        </p:spPr>
      </p:pic>
      <p:sp>
        <p:nvSpPr>
          <p:cNvPr id="4" name="Rektangel 3"/>
          <p:cNvSpPr/>
          <p:nvPr userDrawn="1"/>
        </p:nvSpPr>
        <p:spPr>
          <a:xfrm>
            <a:off x="2" y="0"/>
            <a:ext cx="7994823" cy="6858000"/>
          </a:xfrm>
          <a:prstGeom prst="rect">
            <a:avLst/>
          </a:prstGeom>
          <a:solidFill>
            <a:srgbClr val="002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err="1">
              <a:solidFill>
                <a:schemeClr val="bg2"/>
              </a:solidFill>
            </a:endParaRP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297209" y="2962505"/>
            <a:ext cx="6932612" cy="16557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951B922-DCE0-4695-B7F1-CA667BFE110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09493" y="6257393"/>
            <a:ext cx="1259689" cy="343651"/>
          </a:xfrm>
          <a:prstGeom prst="rect">
            <a:avLst/>
          </a:prstGeom>
        </p:spPr>
      </p:pic>
      <p:pic>
        <p:nvPicPr>
          <p:cNvPr id="9" name="Bildobjekt 8" descr="En bild som visar clipart&#10;&#10;Automatiskt genererad beskrivning">
            <a:extLst>
              <a:ext uri="{FF2B5EF4-FFF2-40B4-BE49-F238E27FC236}">
                <a16:creationId xmlns:a16="http://schemas.microsoft.com/office/drawing/2014/main" id="{0135576D-4BAA-496E-933E-E4712E5AD6F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3" y="247906"/>
            <a:ext cx="1157349" cy="782833"/>
          </a:xfrm>
          <a:prstGeom prst="rect">
            <a:avLst/>
          </a:prstGeom>
        </p:spPr>
      </p:pic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5003C7C2-07A6-4E85-81C5-453D5E8D8457}"/>
              </a:ext>
            </a:extLst>
          </p:cNvPr>
          <p:cNvSpPr/>
          <p:nvPr userDrawn="1"/>
        </p:nvSpPr>
        <p:spPr>
          <a:xfrm>
            <a:off x="-1604344" y="2150113"/>
            <a:ext cx="146384" cy="716127"/>
          </a:xfrm>
          <a:prstGeom prst="round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err="1">
              <a:solidFill>
                <a:schemeClr val="tx2"/>
              </a:solidFill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4AB0F63-0611-4397-B6E3-B1242D74DB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97209" y="183406"/>
            <a:ext cx="6979697" cy="2187248"/>
          </a:xfrm>
        </p:spPr>
        <p:txBody>
          <a:bodyPr/>
          <a:lstStyle>
            <a:lvl1pPr marL="0" indent="0">
              <a:spcAft>
                <a:spcPct val="0"/>
              </a:spcAft>
              <a:buNone/>
              <a:defRPr sz="5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043212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pos="158">
          <p15:clr>
            <a:srgbClr val="FBAE40"/>
          </p15:clr>
        </p15:guide>
        <p15:guide id="3" pos="5602">
          <p15:clr>
            <a:srgbClr val="FBAE40"/>
          </p15:clr>
        </p15:guide>
        <p15:guide id="4" orient="horz" pos="3083">
          <p15:clr>
            <a:srgbClr val="FBAE40"/>
          </p15:clr>
        </p15:guide>
        <p15:guide id="5" orient="horz" pos="274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F215EF8-8D5B-4186-8C5D-DD640F85FC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356405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F215EF8-8D5B-4186-8C5D-DD640F85FC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ADF8DF4-3DD4-424C-8A7C-3959FF9DD68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34963" y="1773240"/>
            <a:ext cx="11509864" cy="4551362"/>
          </a:xfrm>
        </p:spPr>
        <p:txBody>
          <a:bodyPr vert="horz" lIns="0" tIns="0" rIns="0" bIns="0" rtlCol="0">
            <a:noAutofit/>
          </a:bodyPr>
          <a:lstStyle>
            <a:lvl1pPr>
              <a:defRPr lang="sv-SE"/>
            </a:lvl1pPr>
            <a:lvl2pPr>
              <a:defRPr lang="sv-SE"/>
            </a:lvl2pPr>
            <a:lvl3pPr>
              <a:defRPr lang="sv-SE"/>
            </a:lvl3pPr>
            <a:lvl4pPr>
              <a:defRPr lang="sv-SE"/>
            </a:lvl4pPr>
            <a:lvl5pPr>
              <a:defRPr lang="en-GB"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5" y="1323976"/>
            <a:ext cx="10237787" cy="390525"/>
          </a:xfrm>
        </p:spPr>
        <p:txBody>
          <a:bodyPr>
            <a:noAutofit/>
          </a:bodyPr>
          <a:lstStyle>
            <a:lvl1pPr marL="0" indent="0" algn="l">
              <a:buNone/>
              <a:defRPr sz="22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32" y="6399544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cxnSp>
        <p:nvCxnSpPr>
          <p:cNvPr id="16" name="Rak koppling 15"/>
          <p:cNvCxnSpPr/>
          <p:nvPr userDrawn="1"/>
        </p:nvCxnSpPr>
        <p:spPr>
          <a:xfrm rot="5400000" flipH="1">
            <a:off x="-287337" y="6186447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ak koppling 16"/>
          <p:cNvCxnSpPr/>
          <p:nvPr userDrawn="1"/>
        </p:nvCxnSpPr>
        <p:spPr>
          <a:xfrm flipH="1">
            <a:off x="334963" y="6946902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6" y="6399544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0" y="6399544"/>
            <a:ext cx="24765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2" name="Platshållare för rubrik 1">
            <a:extLst>
              <a:ext uri="{FF2B5EF4-FFF2-40B4-BE49-F238E27FC236}">
                <a16:creationId xmlns:a16="http://schemas.microsoft.com/office/drawing/2014/main" id="{F7BFE6E4-1F0D-41B7-96C1-7C3BD8815D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225425"/>
            <a:ext cx="10209211" cy="106997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502692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ackground_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00F51A0-760F-4B57-BFF3-DBA0679D4E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0236186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00F51A0-760F-4B57-BFF3-DBA0679D4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9E2B23F-204A-4C40-ACF7-F2F8758EE3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32" y="6399544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cxnSp>
        <p:nvCxnSpPr>
          <p:cNvPr id="14" name="Rak koppling 13"/>
          <p:cNvCxnSpPr/>
          <p:nvPr userDrawn="1"/>
        </p:nvCxnSpPr>
        <p:spPr>
          <a:xfrm rot="5400000" flipH="1">
            <a:off x="-287337" y="6186447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ak koppling 14"/>
          <p:cNvCxnSpPr/>
          <p:nvPr userDrawn="1"/>
        </p:nvCxnSpPr>
        <p:spPr>
          <a:xfrm flipH="1">
            <a:off x="334963" y="6946902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6" y="6399544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0" y="6399544"/>
            <a:ext cx="24765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7" name="Platshållare för text 7">
            <a:extLst>
              <a:ext uri="{FF2B5EF4-FFF2-40B4-BE49-F238E27FC236}">
                <a16:creationId xmlns:a16="http://schemas.microsoft.com/office/drawing/2014/main" id="{EB55A449-141E-44D5-A1D5-B162C27990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5" y="1323976"/>
            <a:ext cx="10237787" cy="390525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None/>
              <a:defRPr lang="en-US" sz="2200" b="0" noProof="0">
                <a:solidFill>
                  <a:schemeClr val="accent1"/>
                </a:solidFill>
              </a:defRPr>
            </a:lvl1pPr>
          </a:lstStyle>
          <a:p>
            <a:pPr marL="0" lvl="0" indent="0">
              <a:buNone/>
            </a:pPr>
            <a:r>
              <a:rPr lang="en-US" noProof="0"/>
              <a:t>Click to add subtitle</a:t>
            </a:r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D4B7B49F-C501-4230-A5B5-0EFFC9702A8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34965" y="1773239"/>
            <a:ext cx="11522601" cy="4525966"/>
          </a:xfrm>
          <a:solidFill>
            <a:srgbClr val="F2F2F2"/>
          </a:solidFill>
        </p:spPr>
        <p:txBody>
          <a:bodyPr lIns="144000" tIns="144000" rIns="144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16" name="Platshållare för rubrik 1">
            <a:extLst>
              <a:ext uri="{FF2B5EF4-FFF2-40B4-BE49-F238E27FC236}">
                <a16:creationId xmlns:a16="http://schemas.microsoft.com/office/drawing/2014/main" id="{00A2D9EA-1EC3-432E-94FF-3A14CB75B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225425"/>
            <a:ext cx="10209211" cy="106997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7317973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ackground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18ABFC7-94C5-4B58-B5F6-008DF12A6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3765088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18ABFC7-94C5-4B58-B5F6-008DF12A6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70E45C5C-794E-4DC2-A270-C37D9DA450B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32" y="6399544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cxnSp>
        <p:nvCxnSpPr>
          <p:cNvPr id="14" name="Rak koppling 13"/>
          <p:cNvCxnSpPr/>
          <p:nvPr userDrawn="1"/>
        </p:nvCxnSpPr>
        <p:spPr>
          <a:xfrm rot="5400000" flipH="1">
            <a:off x="-287337" y="6186447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ak koppling 14"/>
          <p:cNvCxnSpPr/>
          <p:nvPr userDrawn="1"/>
        </p:nvCxnSpPr>
        <p:spPr>
          <a:xfrm flipH="1">
            <a:off x="334963" y="6946902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6" y="6399544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0" y="6399544"/>
            <a:ext cx="24765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7" name="Platshållare för text 7">
            <a:extLst>
              <a:ext uri="{FF2B5EF4-FFF2-40B4-BE49-F238E27FC236}">
                <a16:creationId xmlns:a16="http://schemas.microsoft.com/office/drawing/2014/main" id="{FF6EB58F-D6C5-43C2-974F-B361F1CB8E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5" y="1323976"/>
            <a:ext cx="10237787" cy="390525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None/>
              <a:defRPr lang="en-US" sz="2200" b="0" noProof="0">
                <a:solidFill>
                  <a:schemeClr val="accent1"/>
                </a:solidFill>
              </a:defRPr>
            </a:lvl1pPr>
          </a:lstStyle>
          <a:p>
            <a:pPr marL="0" lvl="0" indent="0">
              <a:buNone/>
            </a:pPr>
            <a:r>
              <a:rPr lang="en-US" noProof="0"/>
              <a:t>Click to add subtitle</a:t>
            </a:r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8628F53E-D4F5-404E-BA5D-B249250B537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34964" y="1773239"/>
            <a:ext cx="11522603" cy="4525966"/>
          </a:xfrm>
          <a:solidFill>
            <a:srgbClr val="D5ECF9"/>
          </a:solidFill>
        </p:spPr>
        <p:txBody>
          <a:bodyPr lIns="144000" tIns="144000" rIns="144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16" name="Platshållare för rubrik 1">
            <a:extLst>
              <a:ext uri="{FF2B5EF4-FFF2-40B4-BE49-F238E27FC236}">
                <a16:creationId xmlns:a16="http://schemas.microsoft.com/office/drawing/2014/main" id="{3695448C-8C91-47C5-A68C-804FE99134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225425"/>
            <a:ext cx="10209211" cy="106997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066910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D9964E7-4D0A-4C1D-A3DE-0B63BF3D8B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637556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D9964E7-4D0A-4C1D-A3DE-0B63BF3D8B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5AFD45C5-F610-4BDE-8AB1-C069430D456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334966" y="1773238"/>
            <a:ext cx="5672137" cy="455136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72694" y="1773238"/>
            <a:ext cx="5672137" cy="455136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  <a:p>
            <a:pPr lvl="4"/>
            <a:endParaRPr lang="en-US" noProof="0"/>
          </a:p>
        </p:txBody>
      </p:sp>
      <p:sp>
        <p:nvSpPr>
          <p:cNvPr id="14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32" y="6399544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cxnSp>
        <p:nvCxnSpPr>
          <p:cNvPr id="16" name="Rak koppling 15"/>
          <p:cNvCxnSpPr/>
          <p:nvPr userDrawn="1"/>
        </p:nvCxnSpPr>
        <p:spPr>
          <a:xfrm rot="5400000" flipH="1">
            <a:off x="-287337" y="6186447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ak koppling 16"/>
          <p:cNvCxnSpPr/>
          <p:nvPr userDrawn="1"/>
        </p:nvCxnSpPr>
        <p:spPr>
          <a:xfrm flipH="1">
            <a:off x="334963" y="6946902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tshållare för datum 3"/>
          <p:cNvSpPr>
            <a:spLocks noGrp="1"/>
          </p:cNvSpPr>
          <p:nvPr>
            <p:ph type="dt" sz="half" idx="14"/>
          </p:nvPr>
        </p:nvSpPr>
        <p:spPr>
          <a:xfrm>
            <a:off x="334966" y="6399544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0" y="6399544"/>
            <a:ext cx="24765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8" name="Platshållare för text 7">
            <a:extLst>
              <a:ext uri="{FF2B5EF4-FFF2-40B4-BE49-F238E27FC236}">
                <a16:creationId xmlns:a16="http://schemas.microsoft.com/office/drawing/2014/main" id="{F8582AB9-00F3-4ACB-8C63-D05997D096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5" y="1323976"/>
            <a:ext cx="10237787" cy="390525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None/>
              <a:defRPr lang="en-US" sz="2200" b="0" noProof="0">
                <a:solidFill>
                  <a:schemeClr val="accent1"/>
                </a:solidFill>
              </a:defRPr>
            </a:lvl1pPr>
          </a:lstStyle>
          <a:p>
            <a:pPr marL="0" lvl="0" indent="0">
              <a:buNone/>
            </a:pPr>
            <a:r>
              <a:rPr lang="en-US" noProof="0"/>
              <a:t>Click to add subtitle</a:t>
            </a:r>
          </a:p>
        </p:txBody>
      </p:sp>
      <p:sp>
        <p:nvSpPr>
          <p:cNvPr id="13" name="Platshållare för rubrik 1">
            <a:extLst>
              <a:ext uri="{FF2B5EF4-FFF2-40B4-BE49-F238E27FC236}">
                <a16:creationId xmlns:a16="http://schemas.microsoft.com/office/drawing/2014/main" id="{E8D02A5F-B280-4A93-9026-9F026A5E04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225425"/>
            <a:ext cx="10209211" cy="106997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6544735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23EF8BF-7EC2-4488-B6A8-F00D9F00EF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8199621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23EF8BF-7EC2-4488-B6A8-F00D9F00E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>
            <a:extLst>
              <a:ext uri="{FF2B5EF4-FFF2-40B4-BE49-F238E27FC236}">
                <a16:creationId xmlns:a16="http://schemas.microsoft.com/office/drawing/2014/main" id="{BDE41045-E8F5-47A6-A211-01973D73E71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32" y="6399544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cxnSp>
        <p:nvCxnSpPr>
          <p:cNvPr id="14" name="Rak koppling 13"/>
          <p:cNvCxnSpPr/>
          <p:nvPr userDrawn="1"/>
        </p:nvCxnSpPr>
        <p:spPr>
          <a:xfrm rot="5400000" flipH="1">
            <a:off x="-287337" y="6186447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ak koppling 14"/>
          <p:cNvCxnSpPr/>
          <p:nvPr userDrawn="1"/>
        </p:nvCxnSpPr>
        <p:spPr>
          <a:xfrm flipH="1">
            <a:off x="334963" y="6946902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6" y="6399544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0" y="6399544"/>
            <a:ext cx="24765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6" name="Platshållare för text 7">
            <a:extLst>
              <a:ext uri="{FF2B5EF4-FFF2-40B4-BE49-F238E27FC236}">
                <a16:creationId xmlns:a16="http://schemas.microsoft.com/office/drawing/2014/main" id="{CEFD4AAE-BCCC-4712-A617-4120B797EF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5" y="1323976"/>
            <a:ext cx="10237787" cy="390525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None/>
              <a:defRPr lang="en-US" sz="2200" b="0" noProof="0">
                <a:solidFill>
                  <a:schemeClr val="accent1"/>
                </a:solidFill>
              </a:defRPr>
            </a:lvl1pPr>
          </a:lstStyle>
          <a:p>
            <a:pPr marL="0" lvl="0" indent="0">
              <a:buNone/>
            </a:pPr>
            <a:r>
              <a:rPr lang="en-US" noProof="0"/>
              <a:t>Click to add subtitle</a:t>
            </a:r>
          </a:p>
        </p:txBody>
      </p:sp>
      <p:sp>
        <p:nvSpPr>
          <p:cNvPr id="11" name="Platshållare för rubrik 1">
            <a:extLst>
              <a:ext uri="{FF2B5EF4-FFF2-40B4-BE49-F238E27FC236}">
                <a16:creationId xmlns:a16="http://schemas.microsoft.com/office/drawing/2014/main" id="{C1517808-24EF-42D9-9115-B18A8BEAD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225425"/>
            <a:ext cx="10209211" cy="106997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5820606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B7370FF-E4C8-4AF7-B9AA-145D4036D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919606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B7370FF-E4C8-4AF7-B9AA-145D4036D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358BC9AC-8210-4AFC-9526-14038867BE63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err="1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4" name="Bildobjekt 23"/>
          <p:cNvPicPr>
            <a:picLocks noChangeAspect="1"/>
          </p:cNvPicPr>
          <p:nvPr/>
        </p:nvPicPr>
        <p:blipFill>
          <a:blip r:embed="rId29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5744" y="6462788"/>
            <a:ext cx="901812" cy="24602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34964" y="225425"/>
            <a:ext cx="10209211" cy="106997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US" noProof="0"/>
              <a:t>Click to add title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34963" y="1773238"/>
            <a:ext cx="11522076" cy="4543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  <a:p>
            <a:pPr lvl="4"/>
            <a:r>
              <a:rPr lang="en-US" noProof="0"/>
              <a:t>Level fiv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334963" y="6399543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036029" y="6399543"/>
            <a:ext cx="83126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cxnSp>
        <p:nvCxnSpPr>
          <p:cNvPr id="10" name="Rak koppling 9"/>
          <p:cNvCxnSpPr/>
          <p:nvPr/>
        </p:nvCxnSpPr>
        <p:spPr>
          <a:xfrm flipH="1">
            <a:off x="334963" y="-4064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ak koppling 10"/>
          <p:cNvCxnSpPr/>
          <p:nvPr/>
        </p:nvCxnSpPr>
        <p:spPr>
          <a:xfrm flipH="1">
            <a:off x="11858625" y="-4064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ak koppling 12"/>
          <p:cNvCxnSpPr/>
          <p:nvPr/>
        </p:nvCxnSpPr>
        <p:spPr>
          <a:xfrm rot="5400000" flipH="1">
            <a:off x="-287337" y="200025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Rak koppling 13"/>
          <p:cNvCxnSpPr/>
          <p:nvPr/>
        </p:nvCxnSpPr>
        <p:spPr>
          <a:xfrm rot="5400000" flipH="1">
            <a:off x="-287337" y="1063625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ak koppling 14"/>
          <p:cNvCxnSpPr/>
          <p:nvPr/>
        </p:nvCxnSpPr>
        <p:spPr>
          <a:xfrm rot="5400000" flipH="1">
            <a:off x="-287337" y="1657393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Rak koppling 15"/>
          <p:cNvCxnSpPr/>
          <p:nvPr/>
        </p:nvCxnSpPr>
        <p:spPr>
          <a:xfrm rot="5400000" flipH="1">
            <a:off x="-287337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ak koppling 16"/>
          <p:cNvCxnSpPr/>
          <p:nvPr/>
        </p:nvCxnSpPr>
        <p:spPr>
          <a:xfrm rot="5400000" flipH="1">
            <a:off x="12438063" y="200025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ak koppling 17"/>
          <p:cNvCxnSpPr/>
          <p:nvPr/>
        </p:nvCxnSpPr>
        <p:spPr>
          <a:xfrm rot="5400000" flipH="1">
            <a:off x="12438063" y="1063625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ak koppling 18"/>
          <p:cNvCxnSpPr/>
          <p:nvPr/>
        </p:nvCxnSpPr>
        <p:spPr>
          <a:xfrm rot="5400000" flipH="1">
            <a:off x="12438063" y="1657393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ak koppling 19"/>
          <p:cNvCxnSpPr/>
          <p:nvPr/>
        </p:nvCxnSpPr>
        <p:spPr>
          <a:xfrm rot="5400000" flipH="1">
            <a:off x="12438063" y="6186446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ak koppling 20"/>
          <p:cNvCxnSpPr/>
          <p:nvPr/>
        </p:nvCxnSpPr>
        <p:spPr>
          <a:xfrm flipH="1">
            <a:off x="334963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ak koppling 21"/>
          <p:cNvCxnSpPr/>
          <p:nvPr/>
        </p:nvCxnSpPr>
        <p:spPr>
          <a:xfrm flipH="1">
            <a:off x="11858625" y="6946900"/>
            <a:ext cx="0" cy="2667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" y="6399543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noProof="0" smtClean="0"/>
              <a:t>‹#›</a:t>
            </a:fld>
            <a:endParaRPr lang="en-US" noProof="0"/>
          </a:p>
        </p:txBody>
      </p:sp>
      <p:pic>
        <p:nvPicPr>
          <p:cNvPr id="26" name="Bildobjekt 25" descr="En bild som visar clipart&#10;&#10;Automatiskt genererad beskrivning">
            <a:extLst>
              <a:ext uri="{FF2B5EF4-FFF2-40B4-BE49-F238E27FC236}">
                <a16:creationId xmlns:a16="http://schemas.microsoft.com/office/drawing/2014/main" id="{A6FA44DB-5AA6-49AB-B673-962F072E595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1" y="247904"/>
            <a:ext cx="1157349" cy="782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014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37" r:id="rId12"/>
    <p:sldLayoutId id="2147483826" r:id="rId13"/>
    <p:sldLayoutId id="2147483827" r:id="rId14"/>
    <p:sldLayoutId id="2147483828" r:id="rId15"/>
    <p:sldLayoutId id="2147483829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</p:sldLayoutIdLst>
  <p:transition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542925" indent="-276225" algn="l" defTabSz="914400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Font typeface="Calibri" panose="020F0502020204030204" pitchFamily="34" charset="0"/>
        <a:buChar char="─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809625" indent="-266700" algn="l" defTabSz="914400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Font typeface="Calibri" panose="020F0502020204030204" pitchFamily="34" charset="0"/>
        <a:buChar char="─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076325" indent="-266700" algn="l" defTabSz="914400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Font typeface="Calibri" panose="020F0502020204030204" pitchFamily="34" charset="0"/>
        <a:buChar char="─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343025" indent="-266700" algn="l" defTabSz="914400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Font typeface="Calibri" panose="020F0502020204030204" pitchFamily="34" charset="0"/>
        <a:buChar char="─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469" userDrawn="1">
          <p15:clr>
            <a:srgbClr val="F26B43"/>
          </p15:clr>
        </p15:guide>
        <p15:guide id="4" orient="horz" pos="210" userDrawn="1">
          <p15:clr>
            <a:srgbClr val="F26B43"/>
          </p15:clr>
        </p15:guide>
        <p15:guide id="5" orient="horz" pos="754" userDrawn="1">
          <p15:clr>
            <a:srgbClr val="F26B43"/>
          </p15:clr>
        </p15:guide>
        <p15:guide id="6" orient="horz" pos="1117" userDrawn="1">
          <p15:clr>
            <a:srgbClr val="F26B43"/>
          </p15:clr>
        </p15:guide>
        <p15:guide id="7" orient="horz" pos="3979" userDrawn="1">
          <p15:clr>
            <a:srgbClr val="F26B43"/>
          </p15:clr>
        </p15:guide>
        <p15:guide id="8" pos="211" userDrawn="1">
          <p15:clr>
            <a:srgbClr val="F26B43"/>
          </p15:clr>
        </p15:guide>
        <p15:guide id="9" orient="horz" pos="14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jpe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4.png"/><Relationship Id="rId11" Type="http://schemas.openxmlformats.org/officeDocument/2006/relationships/image" Target="../media/image29.jpeg"/><Relationship Id="rId5" Type="http://schemas.openxmlformats.org/officeDocument/2006/relationships/image" Target="../media/image23.png"/><Relationship Id="rId10" Type="http://schemas.openxmlformats.org/officeDocument/2006/relationships/image" Target="../media/image28.jpe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3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BC8CA07F-D022-F27D-FD50-E00F3B4EB94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6" t="6377" r="1649" b="22327"/>
          <a:stretch>
            <a:fillRect/>
          </a:stretch>
        </p:blipFill>
        <p:spPr>
          <a:xfrm>
            <a:off x="-5264" y="1"/>
            <a:ext cx="12197264" cy="5996067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8D6884-79AA-5E8F-9747-A4A8ADFF76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97209" y="179551"/>
            <a:ext cx="5171083" cy="3953061"/>
          </a:xfrm>
        </p:spPr>
        <p:txBody>
          <a:bodyPr/>
          <a:lstStyle/>
          <a:p>
            <a:r>
              <a:rPr lang="hu-HU" sz="48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Tork Xpress® multifold kéztörlőrendszer tömörített töltőanyaggal</a:t>
            </a:r>
          </a:p>
          <a:p>
            <a:endParaRPr lang="en-US" sz="48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F2FD88-F963-A655-52DF-72A99ECDE0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75544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A277E19-18F7-06FE-3240-F4F1FA2F1D98}"/>
              </a:ext>
            </a:extLst>
          </p:cNvPr>
          <p:cNvSpPr/>
          <p:nvPr/>
        </p:nvSpPr>
        <p:spPr>
          <a:xfrm>
            <a:off x="6108700" y="0"/>
            <a:ext cx="6083300" cy="6324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C28D9C-6B3A-1A31-2F22-41FAC214DF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hu-HU" sz="2200" b="0" i="0" strike="noStrike" cap="none" spc="0" baseline="0">
                <a:solidFill>
                  <a:srgbClr val="009FDF"/>
                </a:solidFill>
                <a:effectLst/>
                <a:latin typeface="Arial"/>
                <a:ea typeface="Arial"/>
                <a:cs typeface="Arial"/>
              </a:rPr>
              <a:t>Kis és közepes forgalmú ügyfelek számára</a:t>
            </a: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3348268-0610-3AC4-BF56-A5C020C5D1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36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z ágazat nehézségei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EBC0259-48FF-02B3-093C-CAE3327E33C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34967" y="1773240"/>
            <a:ext cx="5142380" cy="4551362"/>
          </a:xfrm>
        </p:spPr>
        <p:txBody>
          <a:bodyPr/>
          <a:lstStyle/>
          <a:p>
            <a:r>
              <a:rPr lang="hu-HU" sz="18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 </a:t>
            </a:r>
            <a:r>
              <a:rPr lang="hu-HU" sz="18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küzdelem a hatékonyságért</a:t>
            </a:r>
            <a:r>
              <a:rPr lang="hu-HU" sz="18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 felemészti az üzemeltetők napjának minden pillanatát, mivel nem rendelkeznek elegendő erőforrással napi feladataik elvégzéséhez.</a:t>
            </a:r>
          </a:p>
          <a:p>
            <a:r>
              <a:rPr lang="hu-HU" sz="18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Sok idő megy el az </a:t>
            </a:r>
            <a:r>
              <a:rPr lang="hu-HU" sz="18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dagolók feltöltésével</a:t>
            </a:r>
            <a:r>
              <a:rPr lang="hu-HU" sz="18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, a töltőanyag ellenőrzésével, utántöltésével és mozgatásával.</a:t>
            </a:r>
          </a:p>
          <a:p>
            <a:r>
              <a:rPr lang="hu-HU" sz="18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 </a:t>
            </a:r>
            <a:r>
              <a:rPr lang="hu-HU" sz="18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korlátozott hely</a:t>
            </a:r>
            <a:r>
              <a:rPr lang="hu-HU" sz="18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 a takarítókocsikon, a tárolókban, a mosdókban és a betegszobákban behatárolja a termékméreteket.</a:t>
            </a:r>
          </a:p>
          <a:p>
            <a:r>
              <a:rPr lang="hu-HU" sz="18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 nagy személyzeti fluktuáció miatt olyan rendszerre van szükség, amely </a:t>
            </a:r>
            <a:r>
              <a:rPr lang="hu-HU" sz="18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egyszerűen karbantartható.</a:t>
            </a:r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2B8A317-DA28-7CCC-176B-BB4A0C89E7F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9523C0-332B-44AB-11A5-C76C3EA5D133}"/>
              </a:ext>
            </a:extLst>
          </p:cNvPr>
          <p:cNvSpPr txBox="1"/>
          <p:nvPr/>
        </p:nvSpPr>
        <p:spPr>
          <a:xfrm>
            <a:off x="6427305" y="1694930"/>
            <a:ext cx="3958042" cy="155427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hu-HU" sz="1600" b="1" i="0" strike="noStrike" cap="none" spc="0" baseline="0" dirty="0">
                <a:solidFill>
                  <a:srgbClr val="009FDF"/>
                </a:solidFill>
                <a:effectLst/>
                <a:latin typeface="Arial"/>
                <a:ea typeface="Arial"/>
                <a:cs typeface="Arial"/>
              </a:rPr>
              <a:t>A takarítók</a:t>
            </a:r>
            <a:r>
              <a:rPr lang="hu-HU" sz="1600" b="0" i="0" strike="noStrike" cap="none" spc="0" baseline="0" dirty="0">
                <a:solidFill>
                  <a:srgbClr val="009FDF"/>
                </a:solidFill>
                <a:effectLst/>
                <a:latin typeface="Arial"/>
                <a:ea typeface="Arial"/>
                <a:cs typeface="Arial"/>
              </a:rPr>
              <a:t> </a:t>
            </a:r>
            <a:r>
              <a:rPr lang="hu-HU" sz="5400" b="1" i="0" strike="noStrike" cap="none" spc="0" baseline="0" dirty="0">
                <a:solidFill>
                  <a:srgbClr val="009FDF"/>
                </a:solidFill>
                <a:effectLst/>
                <a:latin typeface="Arial"/>
                <a:ea typeface="Arial"/>
                <a:cs typeface="Arial"/>
              </a:rPr>
              <a:t>71%-a </a:t>
            </a:r>
          </a:p>
          <a:p>
            <a:pPr rtl="0">
              <a:spcBef>
                <a:spcPct val="0"/>
              </a:spcBef>
              <a:spcAft>
                <a:spcPct val="0"/>
              </a:spcAft>
            </a:pPr>
            <a:r>
              <a:rPr lang="hu-HU" sz="16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szeretné, ha az adagolórendszereket könnyebb lenne utántölteni</a:t>
            </a:r>
            <a:r>
              <a:rPr lang="hu-HU" sz="1600" b="1" i="0" strike="noStrike" cap="none" spc="0" baseline="3000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1</a:t>
            </a:r>
            <a:br>
              <a:rPr sz="900" dirty="0"/>
            </a:br>
            <a:endParaRPr lang="en-GB" sz="900" b="0" i="0" u="none" strike="noStrike" dirty="0">
              <a:solidFill>
                <a:srgbClr val="007ACC"/>
              </a:solidFill>
              <a:effectLst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5BBB1CA-5990-743A-9111-CAA7778E8307}"/>
              </a:ext>
            </a:extLst>
          </p:cNvPr>
          <p:cNvSpPr/>
          <p:nvPr/>
        </p:nvSpPr>
        <p:spPr>
          <a:xfrm>
            <a:off x="6319814" y="4340186"/>
            <a:ext cx="5325602" cy="1376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l" rtl="0">
              <a:spcBef>
                <a:spcPts val="667"/>
              </a:spcBef>
              <a:spcAft>
                <a:spcPct val="0"/>
              </a:spcAft>
            </a:pPr>
            <a:r>
              <a:rPr lang="hu-HU" sz="1800" b="0" i="0" strike="noStrike" cap="none" spc="0" baseline="0">
                <a:solidFill>
                  <a:srgbClr val="06206A"/>
                </a:solidFill>
                <a:effectLst/>
                <a:latin typeface="Arial"/>
                <a:ea typeface="Arial"/>
                <a:cs typeface="Arial"/>
              </a:rPr>
              <a:t>Nehéz lehet elegendő munkaórát találni a nap folyamán, hogy mindent elvégezzünk, és a takarítás időigényes dolog, amit másra is lehetne fordítani, főleg, ha a higiéniai rendszerek karbantartásáról van szó.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6A8045D-2721-1979-2E8B-4881DE2C2FEF}"/>
              </a:ext>
            </a:extLst>
          </p:cNvPr>
          <p:cNvCxnSpPr/>
          <p:nvPr/>
        </p:nvCxnSpPr>
        <p:spPr>
          <a:xfrm>
            <a:off x="6430460" y="4092250"/>
            <a:ext cx="5214956" cy="0"/>
          </a:xfrm>
          <a:prstGeom prst="line">
            <a:avLst/>
          </a:prstGeom>
          <a:ln w="381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3">
            <a:extLst>
              <a:ext uri="{FF2B5EF4-FFF2-40B4-BE49-F238E27FC236}">
                <a16:creationId xmlns:a16="http://schemas.microsoft.com/office/drawing/2014/main" id="{8A0D1A0F-36AF-F396-F77D-9814342963B3}"/>
              </a:ext>
            </a:extLst>
          </p:cNvPr>
          <p:cNvSpPr txBox="1"/>
          <p:nvPr/>
        </p:nvSpPr>
        <p:spPr>
          <a:xfrm>
            <a:off x="6427305" y="574949"/>
            <a:ext cx="3757843" cy="855034"/>
          </a:xfrm>
          <a:prstGeom prst="rect">
            <a:avLst/>
          </a:prstGeom>
        </p:spPr>
        <p:txBody>
          <a:bodyPr vert="horz" lIns="0" tIns="0" rIns="0" bIns="0" rtlCol="0" anchor="b"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sz="28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Több embert szolgál ki.</a:t>
            </a:r>
            <a:br>
              <a:rPr sz="2800" dirty="0"/>
            </a:br>
            <a:r>
              <a:rPr lang="hu-HU" sz="28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Ritkábban fogy ki</a:t>
            </a:r>
          </a:p>
        </p:txBody>
      </p:sp>
    </p:spTree>
    <p:extLst>
      <p:ext uri="{BB962C8B-B14F-4D97-AF65-F5344CB8AC3E}">
        <p14:creationId xmlns:p14="http://schemas.microsoft.com/office/powerpoint/2010/main" val="502461585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ED2BA54-F574-2CA5-09C4-31C583D35FEE}"/>
              </a:ext>
            </a:extLst>
          </p:cNvPr>
          <p:cNvSpPr/>
          <p:nvPr/>
        </p:nvSpPr>
        <p:spPr>
          <a:xfrm>
            <a:off x="334964" y="1773237"/>
            <a:ext cx="11522603" cy="452596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7E62B47-533C-C60C-A2F4-FC02F9C5AB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hu-HU" sz="2200" b="0" i="0" strike="noStrike" cap="none" spc="0" baseline="0">
                <a:solidFill>
                  <a:srgbClr val="009FDF"/>
                </a:solidFill>
                <a:effectLst/>
                <a:latin typeface="Arial"/>
                <a:ea typeface="Arial"/>
                <a:cs typeface="Arial"/>
              </a:rPr>
              <a:t>Több embert szolgál ki. Ritkábban fogy ki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C916FC6-6B6F-A2C2-CED6-D1D23DEF56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36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Tork Xpress kéztörlőrendszer</a:t>
            </a:r>
          </a:p>
        </p:txBody>
      </p:sp>
      <p:pic>
        <p:nvPicPr>
          <p:cNvPr id="5" name="Picture 4" descr="A white box with a plastic cover&#10;&#10;Description automatically generated">
            <a:extLst>
              <a:ext uri="{FF2B5EF4-FFF2-40B4-BE49-F238E27FC236}">
                <a16:creationId xmlns:a16="http://schemas.microsoft.com/office/drawing/2014/main" id="{815F5B84-DD46-9099-752F-2654E87F5C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1739" y="1861961"/>
            <a:ext cx="4352400" cy="4352400"/>
          </a:xfrm>
          <a:prstGeom prst="rect">
            <a:avLst/>
          </a:prstGeom>
        </p:spPr>
      </p:pic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1B099369-8BF4-DF58-FC73-CE90EDADCB07}"/>
              </a:ext>
            </a:extLst>
          </p:cNvPr>
          <p:cNvSpPr txBox="1"/>
          <p:nvPr/>
        </p:nvSpPr>
        <p:spPr>
          <a:xfrm>
            <a:off x="489312" y="1958680"/>
            <a:ext cx="2855467" cy="940931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 legegyszerűbb és </a:t>
            </a:r>
            <a:r>
              <a:rPr lang="hu-HU" sz="1600" b="1" i="0" strike="noStrike" cap="none" spc="0" baseline="0" dirty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legintuitívabb</a:t>
            </a:r>
            <a:r>
              <a:rPr lang="hu-HU" sz="16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 </a:t>
            </a:r>
            <a:r>
              <a:rPr lang="hu-HU" sz="16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Tork kéztörlő-adagoló az utántöltés szempontjából</a:t>
            </a:r>
            <a:r>
              <a:rPr lang="hu-HU" sz="1600" b="0" i="0" strike="noStrike" cap="none" spc="0" baseline="3000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1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3D7F3169-0B43-4EDF-612A-77648A4BB94A}"/>
              </a:ext>
            </a:extLst>
          </p:cNvPr>
          <p:cNvSpPr txBox="1"/>
          <p:nvPr/>
        </p:nvSpPr>
        <p:spPr>
          <a:xfrm>
            <a:off x="9030276" y="2166033"/>
            <a:ext cx="2657865" cy="1470320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1" i="0" strike="noStrike" cap="none" spc="0" baseline="0" dirty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Több csomaggal is feltölthető, </a:t>
            </a:r>
            <a:r>
              <a:rPr lang="hu-HU" sz="16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így elkerülhető, hogy a papír kifogyjon</a:t>
            </a:r>
            <a:endParaRPr lang="en-US" sz="1600" b="1" dirty="0">
              <a:solidFill>
                <a:schemeClr val="accent5"/>
              </a:solidFill>
            </a:endParaRP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DBFDE1C2-EC6C-CF36-3629-5BAE1207993E}"/>
              </a:ext>
            </a:extLst>
          </p:cNvPr>
          <p:cNvSpPr txBox="1"/>
          <p:nvPr/>
        </p:nvSpPr>
        <p:spPr>
          <a:xfrm>
            <a:off x="489312" y="3584846"/>
            <a:ext cx="2855467" cy="747088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1" i="0" strike="noStrike" cap="none" spc="0" baseline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Különböző minőségű töltőanyagok</a:t>
            </a:r>
            <a:r>
              <a:rPr lang="hu-HU" sz="16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 </a:t>
            </a:r>
            <a:r>
              <a:rPr lang="hu-HU" sz="16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is kaphatók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01823D9F-4AD7-6FFE-04DE-5D5F4E8D0093}"/>
              </a:ext>
            </a:extLst>
          </p:cNvPr>
          <p:cNvSpPr txBox="1"/>
          <p:nvPr/>
        </p:nvSpPr>
        <p:spPr>
          <a:xfrm>
            <a:off x="489311" y="5018401"/>
            <a:ext cx="2855467" cy="735056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Helytakarékos, </a:t>
            </a:r>
            <a:r>
              <a:rPr lang="hu-HU" sz="1600" b="1" i="0" strike="noStrike" cap="none" spc="0" baseline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alacsony környezeti terhelésű</a:t>
            </a:r>
            <a:r>
              <a:rPr lang="hu-HU" sz="16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 </a:t>
            </a:r>
            <a:r>
              <a:rPr lang="hu-HU" sz="16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dagolók</a:t>
            </a:r>
          </a:p>
        </p:txBody>
      </p:sp>
      <p:cxnSp>
        <p:nvCxnSpPr>
          <p:cNvPr id="10" name="Elbow Connector 19">
            <a:extLst>
              <a:ext uri="{FF2B5EF4-FFF2-40B4-BE49-F238E27FC236}">
                <a16:creationId xmlns:a16="http://schemas.microsoft.com/office/drawing/2014/main" id="{2BFF11CF-DD40-08B5-BC8D-9BD63014692F}"/>
              </a:ext>
            </a:extLst>
          </p:cNvPr>
          <p:cNvCxnSpPr/>
          <p:nvPr/>
        </p:nvCxnSpPr>
        <p:spPr>
          <a:xfrm>
            <a:off x="3088345" y="2478506"/>
            <a:ext cx="1591939" cy="661736"/>
          </a:xfrm>
          <a:prstGeom prst="bentConnector3">
            <a:avLst/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lbow Connector 21">
            <a:extLst>
              <a:ext uri="{FF2B5EF4-FFF2-40B4-BE49-F238E27FC236}">
                <a16:creationId xmlns:a16="http://schemas.microsoft.com/office/drawing/2014/main" id="{A4301F05-E349-3595-7A93-B85AB321E200}"/>
              </a:ext>
            </a:extLst>
          </p:cNvPr>
          <p:cNvCxnSpPr/>
          <p:nvPr/>
        </p:nvCxnSpPr>
        <p:spPr>
          <a:xfrm>
            <a:off x="3056021" y="3850106"/>
            <a:ext cx="2607119" cy="656623"/>
          </a:xfrm>
          <a:prstGeom prst="bentConnector3">
            <a:avLst>
              <a:gd name="adj1" fmla="val 62460"/>
            </a:avLst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lbow Connector 23">
            <a:extLst>
              <a:ext uri="{FF2B5EF4-FFF2-40B4-BE49-F238E27FC236}">
                <a16:creationId xmlns:a16="http://schemas.microsoft.com/office/drawing/2014/main" id="{E8A76839-8872-AA5E-0A4C-2467CE45EBF5}"/>
              </a:ext>
            </a:extLst>
          </p:cNvPr>
          <p:cNvCxnSpPr/>
          <p:nvPr/>
        </p:nvCxnSpPr>
        <p:spPr>
          <a:xfrm flipV="1">
            <a:off x="2610853" y="5041798"/>
            <a:ext cx="2900803" cy="352543"/>
          </a:xfrm>
          <a:prstGeom prst="bentConnector3">
            <a:avLst>
              <a:gd name="adj1" fmla="val 50000"/>
            </a:avLst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2CD38E61-35C4-7489-AFB8-EC59047A5D96}"/>
              </a:ext>
            </a:extLst>
          </p:cNvPr>
          <p:cNvSpPr/>
          <p:nvPr/>
        </p:nvSpPr>
        <p:spPr>
          <a:xfrm>
            <a:off x="4671304" y="3068052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3338C12-4701-7772-2FBC-49971BD58E4A}"/>
              </a:ext>
            </a:extLst>
          </p:cNvPr>
          <p:cNvSpPr/>
          <p:nvPr/>
        </p:nvSpPr>
        <p:spPr>
          <a:xfrm>
            <a:off x="5676429" y="4434939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EA2489D-694B-9E67-FBB6-AD9795D74322}"/>
              </a:ext>
            </a:extLst>
          </p:cNvPr>
          <p:cNvSpPr/>
          <p:nvPr/>
        </p:nvSpPr>
        <p:spPr>
          <a:xfrm>
            <a:off x="5532050" y="4969608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C8DA21F4-0FCC-D3B6-AAF7-43A03CE4623C}"/>
              </a:ext>
            </a:extLst>
          </p:cNvPr>
          <p:cNvSpPr txBox="1"/>
          <p:nvPr/>
        </p:nvSpPr>
        <p:spPr>
          <a:xfrm>
            <a:off x="9011422" y="5022870"/>
            <a:ext cx="2845614" cy="902442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Laponkénti adagolás a </a:t>
            </a:r>
            <a:r>
              <a:rPr lang="hu-HU" sz="1600" b="1" i="0" strike="noStrike" cap="none" spc="0" baseline="0" dirty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szabályozott fogyasztás érdekében</a:t>
            </a:r>
          </a:p>
          <a:p>
            <a:pPr marL="0" indent="0">
              <a:spcAft>
                <a:spcPts val="1000"/>
              </a:spcAft>
              <a:buNone/>
            </a:pPr>
            <a:endParaRPr lang="en-US" sz="1600" dirty="0"/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7A2998E9-0E47-B616-744D-728F9E68E8A9}"/>
              </a:ext>
            </a:extLst>
          </p:cNvPr>
          <p:cNvSpPr txBox="1"/>
          <p:nvPr/>
        </p:nvSpPr>
        <p:spPr>
          <a:xfrm>
            <a:off x="8984761" y="3490073"/>
            <a:ext cx="2785537" cy="979154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Funkcionális, modern kialakítás, amely </a:t>
            </a:r>
            <a:r>
              <a:rPr lang="hu-HU" sz="1600" b="1" i="0" strike="noStrike" cap="none" spc="0" baseline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mély benyomást</a:t>
            </a:r>
            <a:r>
              <a:rPr lang="hu-HU" sz="16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 kelt</a:t>
            </a:r>
          </a:p>
        </p:txBody>
      </p:sp>
      <p:cxnSp>
        <p:nvCxnSpPr>
          <p:cNvPr id="18" name="Elbow Connector 39">
            <a:extLst>
              <a:ext uri="{FF2B5EF4-FFF2-40B4-BE49-F238E27FC236}">
                <a16:creationId xmlns:a16="http://schemas.microsoft.com/office/drawing/2014/main" id="{427EF2D4-3674-BB34-12CC-60B78B8B3E3C}"/>
              </a:ext>
            </a:extLst>
          </p:cNvPr>
          <p:cNvCxnSpPr/>
          <p:nvPr/>
        </p:nvCxnSpPr>
        <p:spPr>
          <a:xfrm rot="10800000" flipV="1">
            <a:off x="6504912" y="2626705"/>
            <a:ext cx="2412243" cy="741229"/>
          </a:xfrm>
          <a:prstGeom prst="bentConnector3">
            <a:avLst>
              <a:gd name="adj1" fmla="val 50000"/>
            </a:avLst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44">
            <a:extLst>
              <a:ext uri="{FF2B5EF4-FFF2-40B4-BE49-F238E27FC236}">
                <a16:creationId xmlns:a16="http://schemas.microsoft.com/office/drawing/2014/main" id="{A5E5D167-5F07-6086-0921-A239BC7E9A4B}"/>
              </a:ext>
            </a:extLst>
          </p:cNvPr>
          <p:cNvCxnSpPr/>
          <p:nvPr/>
        </p:nvCxnSpPr>
        <p:spPr>
          <a:xfrm rot="10800000">
            <a:off x="7154947" y="3726978"/>
            <a:ext cx="1743354" cy="344298"/>
          </a:xfrm>
          <a:prstGeom prst="bentConnector3">
            <a:avLst>
              <a:gd name="adj1" fmla="val 46756"/>
            </a:avLst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>
            <a:extLst>
              <a:ext uri="{FF2B5EF4-FFF2-40B4-BE49-F238E27FC236}">
                <a16:creationId xmlns:a16="http://schemas.microsoft.com/office/drawing/2014/main" id="{1CD55115-BC3E-DDDF-B27C-4DF71EEE7544}"/>
              </a:ext>
            </a:extLst>
          </p:cNvPr>
          <p:cNvSpPr/>
          <p:nvPr/>
        </p:nvSpPr>
        <p:spPr>
          <a:xfrm>
            <a:off x="6336907" y="3295744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6ECF45D-ABE6-1BBE-D4A7-547867EE4D40}"/>
              </a:ext>
            </a:extLst>
          </p:cNvPr>
          <p:cNvSpPr/>
          <p:nvPr/>
        </p:nvSpPr>
        <p:spPr>
          <a:xfrm>
            <a:off x="7008642" y="3654754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cxnSp>
        <p:nvCxnSpPr>
          <p:cNvPr id="22" name="Elbow Connector 60">
            <a:extLst>
              <a:ext uri="{FF2B5EF4-FFF2-40B4-BE49-F238E27FC236}">
                <a16:creationId xmlns:a16="http://schemas.microsoft.com/office/drawing/2014/main" id="{C32E253B-4E14-C7AC-EB15-FF355BEC3956}"/>
              </a:ext>
            </a:extLst>
          </p:cNvPr>
          <p:cNvCxnSpPr/>
          <p:nvPr/>
        </p:nvCxnSpPr>
        <p:spPr>
          <a:xfrm rot="10800000">
            <a:off x="7164371" y="5046731"/>
            <a:ext cx="1743354" cy="344298"/>
          </a:xfrm>
          <a:prstGeom prst="bentConnector3">
            <a:avLst>
              <a:gd name="adj1" fmla="val 46756"/>
            </a:avLst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F74B9307-77E5-19DF-D4DF-FF86CBD1508D}"/>
              </a:ext>
            </a:extLst>
          </p:cNvPr>
          <p:cNvSpPr/>
          <p:nvPr/>
        </p:nvSpPr>
        <p:spPr>
          <a:xfrm>
            <a:off x="7011584" y="4974541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83CF12F9-7BEC-9B77-867F-58BC9740B583}"/>
              </a:ext>
            </a:extLst>
          </p:cNvPr>
          <p:cNvSpPr txBox="1"/>
          <p:nvPr/>
        </p:nvSpPr>
        <p:spPr>
          <a:xfrm>
            <a:off x="334698" y="6427336"/>
            <a:ext cx="10321671" cy="311047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9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1 A Tork Matic és a Tork PeakServe rendszerhez képest.</a:t>
            </a: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291616149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ED2BA54-F574-2CA5-09C4-31C583D35FEE}"/>
              </a:ext>
            </a:extLst>
          </p:cNvPr>
          <p:cNvSpPr/>
          <p:nvPr/>
        </p:nvSpPr>
        <p:spPr>
          <a:xfrm>
            <a:off x="334964" y="1773237"/>
            <a:ext cx="11522603" cy="452596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7E62B47-533C-C60C-A2F4-FC02F9C5AB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hu-HU" sz="2200" b="0" i="0" strike="noStrike" cap="none" spc="0" baseline="0">
                <a:solidFill>
                  <a:srgbClr val="009FDF"/>
                </a:solidFill>
                <a:effectLst/>
                <a:latin typeface="Arial"/>
                <a:ea typeface="Arial"/>
                <a:cs typeface="Arial"/>
              </a:rPr>
              <a:t>Több embert szolgál ki. Ritkábban fogy ki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C916FC6-6B6F-A2C2-CED6-D1D23DEF56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5425"/>
            <a:ext cx="10974545" cy="1069976"/>
          </a:xfrm>
        </p:spPr>
        <p:txBody>
          <a:bodyPr/>
          <a:lstStyle/>
          <a:p>
            <a:r>
              <a:rPr lang="hu-HU" sz="36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 Tork </a:t>
            </a:r>
            <a:r>
              <a:rPr lang="hu-HU" sz="3600" b="1" i="0" strike="noStrike" cap="none" spc="0" baseline="0" dirty="0" err="1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Xpress</a:t>
            </a:r>
            <a:r>
              <a:rPr lang="hu-HU" sz="36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 tömörített kéztörlők kínálata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83CF12F9-7BEC-9B77-867F-58BC9740B583}"/>
              </a:ext>
            </a:extLst>
          </p:cNvPr>
          <p:cNvSpPr txBox="1"/>
          <p:nvPr/>
        </p:nvSpPr>
        <p:spPr>
          <a:xfrm>
            <a:off x="334698" y="6427336"/>
            <a:ext cx="10321671" cy="616507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ct val="0"/>
              </a:spcAft>
              <a:buNone/>
            </a:pPr>
            <a:r>
              <a:rPr lang="hu-HU" sz="9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1 Az egyenértékű Tork hagyományos hajtogatott kéztörlőkhöz képest.</a:t>
            </a:r>
          </a:p>
          <a:p>
            <a:pPr marL="0" indent="0">
              <a:spcAft>
                <a:spcPct val="0"/>
              </a:spcAft>
              <a:buNone/>
            </a:pPr>
            <a:r>
              <a:rPr lang="hu-HU" sz="9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2 Az egyenértékű Tork hagyományos hajtogatott kéztörlőkhöz képest, az egy raklapra felférő kéztörlők száma alapján. </a:t>
            </a:r>
          </a:p>
        </p:txBody>
      </p:sp>
      <p:pic>
        <p:nvPicPr>
          <p:cNvPr id="3" name="Picture 2" descr="A white rectangular box with blue and white text&#10;&#10;Description automatically generated">
            <a:extLst>
              <a:ext uri="{FF2B5EF4-FFF2-40B4-BE49-F238E27FC236}">
                <a16:creationId xmlns:a16="http://schemas.microsoft.com/office/drawing/2014/main" id="{CAFAB067-CB81-AEBA-5879-78DA337FF10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8541" y="2701774"/>
            <a:ext cx="4954371" cy="2749045"/>
          </a:xfrm>
          <a:prstGeom prst="rect">
            <a:avLst/>
          </a:prstGeom>
        </p:spPr>
      </p:pic>
      <p:sp>
        <p:nvSpPr>
          <p:cNvPr id="26" name="Content Placeholder 1">
            <a:extLst>
              <a:ext uri="{FF2B5EF4-FFF2-40B4-BE49-F238E27FC236}">
                <a16:creationId xmlns:a16="http://schemas.microsoft.com/office/drawing/2014/main" id="{44988BDD-6515-DD8C-425C-021FF391D9EC}"/>
              </a:ext>
            </a:extLst>
          </p:cNvPr>
          <p:cNvSpPr txBox="1"/>
          <p:nvPr/>
        </p:nvSpPr>
        <p:spPr>
          <a:xfrm>
            <a:off x="489312" y="1958680"/>
            <a:ext cx="2855467" cy="940931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Csomagok, amelyek </a:t>
            </a:r>
            <a:r>
              <a:rPr lang="hu-HU" sz="1600" b="1" i="0" strike="noStrike" cap="none" spc="0" baseline="0" dirty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50%-kal tömörebbek</a:t>
            </a:r>
            <a:r>
              <a:rPr lang="hu-HU" sz="1600" b="1" i="0" strike="noStrike" cap="none" spc="0" baseline="30000" dirty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1</a:t>
            </a:r>
            <a:r>
              <a:rPr lang="hu-HU" sz="1600" b="1" i="0" strike="noStrike" cap="none" spc="0" baseline="0" dirty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 </a:t>
            </a:r>
          </a:p>
        </p:txBody>
      </p:sp>
      <p:sp>
        <p:nvSpPr>
          <p:cNvPr id="27" name="Content Placeholder 1">
            <a:extLst>
              <a:ext uri="{FF2B5EF4-FFF2-40B4-BE49-F238E27FC236}">
                <a16:creationId xmlns:a16="http://schemas.microsoft.com/office/drawing/2014/main" id="{43A74F64-EC1C-FCB0-00AD-3241AA27CBFF}"/>
              </a:ext>
            </a:extLst>
          </p:cNvPr>
          <p:cNvSpPr txBox="1"/>
          <p:nvPr/>
        </p:nvSpPr>
        <p:spPr>
          <a:xfrm>
            <a:off x="9016243" y="2137128"/>
            <a:ext cx="2412244" cy="979154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 szállítás csökkentése olyan kéztörlőkkel, amelyek </a:t>
            </a:r>
            <a:r>
              <a:rPr lang="hu-HU" sz="1600" b="1" i="0" strike="noStrike" cap="none" spc="0" baseline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kisebb helyet foglalnak el</a:t>
            </a:r>
            <a:r>
              <a:rPr lang="hu-HU" sz="1600" b="1" i="0" strike="noStrike" cap="none" spc="0" baseline="3000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2</a:t>
            </a:r>
          </a:p>
        </p:txBody>
      </p:sp>
      <p:sp>
        <p:nvSpPr>
          <p:cNvPr id="28" name="Content Placeholder 1">
            <a:extLst>
              <a:ext uri="{FF2B5EF4-FFF2-40B4-BE49-F238E27FC236}">
                <a16:creationId xmlns:a16="http://schemas.microsoft.com/office/drawing/2014/main" id="{2B1DDC82-334E-060F-3446-05F21F6216CE}"/>
              </a:ext>
            </a:extLst>
          </p:cNvPr>
          <p:cNvSpPr txBox="1"/>
          <p:nvPr/>
        </p:nvSpPr>
        <p:spPr>
          <a:xfrm>
            <a:off x="489313" y="2904324"/>
            <a:ext cx="2401268" cy="747088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Kisebb, </a:t>
            </a:r>
            <a:r>
              <a:rPr lang="hu-HU" sz="1600" b="1" i="0" strike="noStrike" cap="none" spc="0" baseline="0" dirty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könnyebben kezelhető</a:t>
            </a:r>
            <a:r>
              <a:rPr lang="hu-HU" sz="1600" b="0" i="0" strike="noStrike" cap="none" spc="0" baseline="0" dirty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 </a:t>
            </a:r>
            <a:r>
              <a:rPr lang="hu-HU" sz="1600" b="1" i="0" strike="noStrike" cap="none" spc="0" baseline="0" dirty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csomagok</a:t>
            </a:r>
            <a:r>
              <a:rPr lang="hu-HU" sz="1600" b="1" i="0" strike="noStrike" cap="none" spc="0" baseline="30000" dirty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1</a:t>
            </a:r>
          </a:p>
        </p:txBody>
      </p:sp>
      <p:sp>
        <p:nvSpPr>
          <p:cNvPr id="29" name="Content Placeholder 1">
            <a:extLst>
              <a:ext uri="{FF2B5EF4-FFF2-40B4-BE49-F238E27FC236}">
                <a16:creationId xmlns:a16="http://schemas.microsoft.com/office/drawing/2014/main" id="{B87FE1C9-0704-48B7-2762-0A914CA5EA22}"/>
              </a:ext>
            </a:extLst>
          </p:cNvPr>
          <p:cNvSpPr txBox="1"/>
          <p:nvPr/>
        </p:nvSpPr>
        <p:spPr>
          <a:xfrm>
            <a:off x="461614" y="3862826"/>
            <a:ext cx="2530720" cy="1063422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1" i="0" strike="noStrike" cap="none" spc="0" baseline="0" dirty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Több kéztörlő minden csomagban </a:t>
            </a:r>
            <a:r>
              <a:rPr lang="hu-HU" sz="16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z eddigi töltőanyagokhoz képest</a:t>
            </a:r>
          </a:p>
        </p:txBody>
      </p:sp>
      <p:cxnSp>
        <p:nvCxnSpPr>
          <p:cNvPr id="30" name="Elbow Connector 29">
            <a:extLst>
              <a:ext uri="{FF2B5EF4-FFF2-40B4-BE49-F238E27FC236}">
                <a16:creationId xmlns:a16="http://schemas.microsoft.com/office/drawing/2014/main" id="{78446F8B-621A-F49E-13FB-ED73E22A8529}"/>
              </a:ext>
            </a:extLst>
          </p:cNvPr>
          <p:cNvCxnSpPr/>
          <p:nvPr/>
        </p:nvCxnSpPr>
        <p:spPr>
          <a:xfrm>
            <a:off x="2890580" y="2484863"/>
            <a:ext cx="1789704" cy="655379"/>
          </a:xfrm>
          <a:prstGeom prst="bentConnector3">
            <a:avLst/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>
            <a:extLst>
              <a:ext uri="{FF2B5EF4-FFF2-40B4-BE49-F238E27FC236}">
                <a16:creationId xmlns:a16="http://schemas.microsoft.com/office/drawing/2014/main" id="{D7C99D28-24AE-5879-17C5-F101A43C351B}"/>
              </a:ext>
            </a:extLst>
          </p:cNvPr>
          <p:cNvCxnSpPr>
            <a:stCxn id="28" idx="3"/>
          </p:cNvCxnSpPr>
          <p:nvPr/>
        </p:nvCxnSpPr>
        <p:spPr>
          <a:xfrm>
            <a:off x="2890581" y="3277868"/>
            <a:ext cx="1236294" cy="707852"/>
          </a:xfrm>
          <a:prstGeom prst="bentConnector3">
            <a:avLst>
              <a:gd name="adj1" fmla="val 50000"/>
            </a:avLst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>
            <a:extLst>
              <a:ext uri="{FF2B5EF4-FFF2-40B4-BE49-F238E27FC236}">
                <a16:creationId xmlns:a16="http://schemas.microsoft.com/office/drawing/2014/main" id="{35F8A5A8-CB1F-0266-D6B5-BE89FE948787}"/>
              </a:ext>
            </a:extLst>
          </p:cNvPr>
          <p:cNvCxnSpPr>
            <a:endCxn id="35" idx="4"/>
          </p:cNvCxnSpPr>
          <p:nvPr/>
        </p:nvCxnSpPr>
        <p:spPr>
          <a:xfrm flipV="1">
            <a:off x="2971739" y="4803353"/>
            <a:ext cx="1125140" cy="822391"/>
          </a:xfrm>
          <a:prstGeom prst="bentConnector2">
            <a:avLst/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val 32">
            <a:extLst>
              <a:ext uri="{FF2B5EF4-FFF2-40B4-BE49-F238E27FC236}">
                <a16:creationId xmlns:a16="http://schemas.microsoft.com/office/drawing/2014/main" id="{00A965CD-70ED-C863-9FD9-5CDDE6A18E3E}"/>
              </a:ext>
            </a:extLst>
          </p:cNvPr>
          <p:cNvSpPr/>
          <p:nvPr/>
        </p:nvSpPr>
        <p:spPr>
          <a:xfrm>
            <a:off x="4671304" y="3068052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3A76AC9-C941-B402-2807-52C47749CE10}"/>
              </a:ext>
            </a:extLst>
          </p:cNvPr>
          <p:cNvSpPr/>
          <p:nvPr/>
        </p:nvSpPr>
        <p:spPr>
          <a:xfrm>
            <a:off x="4154457" y="3913530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28B478E8-0058-3283-6BC7-D4C5BEEC6E48}"/>
              </a:ext>
            </a:extLst>
          </p:cNvPr>
          <p:cNvSpPr/>
          <p:nvPr/>
        </p:nvSpPr>
        <p:spPr>
          <a:xfrm>
            <a:off x="4024689" y="4658974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36" name="Content Placeholder 1">
            <a:extLst>
              <a:ext uri="{FF2B5EF4-FFF2-40B4-BE49-F238E27FC236}">
                <a16:creationId xmlns:a16="http://schemas.microsoft.com/office/drawing/2014/main" id="{BF6D3938-4A10-DF04-6FF0-919EBF668549}"/>
              </a:ext>
            </a:extLst>
          </p:cNvPr>
          <p:cNvSpPr txBox="1"/>
          <p:nvPr/>
        </p:nvSpPr>
        <p:spPr>
          <a:xfrm>
            <a:off x="442995" y="5235265"/>
            <a:ext cx="2855467" cy="820729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1" i="0" strike="noStrike" cap="none" spc="0" baseline="0" dirty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Akár 27%-kal kevesebb </a:t>
            </a:r>
            <a:r>
              <a:rPr lang="hu-HU" sz="1600" dirty="0">
                <a:solidFill>
                  <a:srgbClr val="00206A"/>
                </a:solidFill>
                <a:latin typeface="Arial"/>
                <a:cs typeface="Arial"/>
              </a:rPr>
              <a:t>csomagolóanyag</a:t>
            </a:r>
            <a:r>
              <a:rPr lang="hu-HU" sz="1600" baseline="30000" dirty="0">
                <a:solidFill>
                  <a:srgbClr val="00206A"/>
                </a:solidFill>
                <a:latin typeface="Arial"/>
                <a:cs typeface="Arial"/>
              </a:rPr>
              <a:t>1</a:t>
            </a:r>
            <a:endParaRPr lang="en-US" sz="1600" baseline="30000" dirty="0">
              <a:solidFill>
                <a:srgbClr val="00206A"/>
              </a:solidFill>
              <a:latin typeface="Arial"/>
              <a:cs typeface="Arial"/>
            </a:endParaRPr>
          </a:p>
        </p:txBody>
      </p:sp>
      <p:sp>
        <p:nvSpPr>
          <p:cNvPr id="37" name="Content Placeholder 1">
            <a:extLst>
              <a:ext uri="{FF2B5EF4-FFF2-40B4-BE49-F238E27FC236}">
                <a16:creationId xmlns:a16="http://schemas.microsoft.com/office/drawing/2014/main" id="{0D2B7D6F-229A-2B3C-B94D-2574F44C710F}"/>
              </a:ext>
            </a:extLst>
          </p:cNvPr>
          <p:cNvSpPr txBox="1"/>
          <p:nvPr/>
        </p:nvSpPr>
        <p:spPr>
          <a:xfrm>
            <a:off x="9011422" y="3675480"/>
            <a:ext cx="2657865" cy="979154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1" i="0" strike="noStrike" cap="none" spc="0" baseline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Premium és Advanced minőségben</a:t>
            </a:r>
            <a:r>
              <a:rPr lang="hu-HU" sz="16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 is kapható</a:t>
            </a:r>
          </a:p>
        </p:txBody>
      </p:sp>
      <p:cxnSp>
        <p:nvCxnSpPr>
          <p:cNvPr id="38" name="Elbow Connector 37">
            <a:extLst>
              <a:ext uri="{FF2B5EF4-FFF2-40B4-BE49-F238E27FC236}">
                <a16:creationId xmlns:a16="http://schemas.microsoft.com/office/drawing/2014/main" id="{3ABAE192-7E03-7E61-5F95-8FCEA617033B}"/>
              </a:ext>
            </a:extLst>
          </p:cNvPr>
          <p:cNvCxnSpPr/>
          <p:nvPr/>
        </p:nvCxnSpPr>
        <p:spPr>
          <a:xfrm rot="10800000" flipV="1">
            <a:off x="6504912" y="2626705"/>
            <a:ext cx="2412243" cy="741229"/>
          </a:xfrm>
          <a:prstGeom prst="bentConnector3">
            <a:avLst>
              <a:gd name="adj1" fmla="val 50000"/>
            </a:avLst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>
            <a:extLst>
              <a:ext uri="{FF2B5EF4-FFF2-40B4-BE49-F238E27FC236}">
                <a16:creationId xmlns:a16="http://schemas.microsoft.com/office/drawing/2014/main" id="{4E143F8D-F4AA-F1EC-1B31-15DA692447BA}"/>
              </a:ext>
            </a:extLst>
          </p:cNvPr>
          <p:cNvCxnSpPr/>
          <p:nvPr/>
        </p:nvCxnSpPr>
        <p:spPr>
          <a:xfrm rot="10800000" flipV="1">
            <a:off x="7778319" y="4071276"/>
            <a:ext cx="1119983" cy="472066"/>
          </a:xfrm>
          <a:prstGeom prst="bentConnector3">
            <a:avLst>
              <a:gd name="adj1" fmla="val 24970"/>
            </a:avLst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39">
            <a:extLst>
              <a:ext uri="{FF2B5EF4-FFF2-40B4-BE49-F238E27FC236}">
                <a16:creationId xmlns:a16="http://schemas.microsoft.com/office/drawing/2014/main" id="{CC8FBCC6-0B95-E136-701B-95B42B2019B5}"/>
              </a:ext>
            </a:extLst>
          </p:cNvPr>
          <p:cNvSpPr/>
          <p:nvPr/>
        </p:nvSpPr>
        <p:spPr>
          <a:xfrm>
            <a:off x="6336907" y="3295744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C463838B-2C2E-9CDC-6A3D-9388AC35B662}"/>
              </a:ext>
            </a:extLst>
          </p:cNvPr>
          <p:cNvSpPr/>
          <p:nvPr/>
        </p:nvSpPr>
        <p:spPr>
          <a:xfrm>
            <a:off x="7627266" y="4471153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cxnSp>
        <p:nvCxnSpPr>
          <p:cNvPr id="42" name="Elbow Connector 41">
            <a:extLst>
              <a:ext uri="{FF2B5EF4-FFF2-40B4-BE49-F238E27FC236}">
                <a16:creationId xmlns:a16="http://schemas.microsoft.com/office/drawing/2014/main" id="{716C1370-9B7B-8984-9279-3CF849BA41B0}"/>
              </a:ext>
            </a:extLst>
          </p:cNvPr>
          <p:cNvCxnSpPr/>
          <p:nvPr/>
        </p:nvCxnSpPr>
        <p:spPr>
          <a:xfrm rot="10800000">
            <a:off x="7164371" y="5046731"/>
            <a:ext cx="1743354" cy="344298"/>
          </a:xfrm>
          <a:prstGeom prst="bentConnector3">
            <a:avLst>
              <a:gd name="adj1" fmla="val 29486"/>
            </a:avLst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id="{8EBFD0B9-7886-4DF4-4CB6-5E40D5B84F24}"/>
              </a:ext>
            </a:extLst>
          </p:cNvPr>
          <p:cNvSpPr/>
          <p:nvPr/>
        </p:nvSpPr>
        <p:spPr>
          <a:xfrm>
            <a:off x="7011584" y="4974541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44" name="Content Placeholder 1">
            <a:extLst>
              <a:ext uri="{FF2B5EF4-FFF2-40B4-BE49-F238E27FC236}">
                <a16:creationId xmlns:a16="http://schemas.microsoft.com/office/drawing/2014/main" id="{88DECD0C-2880-27DB-B4E7-B802A05D2FD3}"/>
              </a:ext>
            </a:extLst>
          </p:cNvPr>
          <p:cNvSpPr txBox="1"/>
          <p:nvPr/>
        </p:nvSpPr>
        <p:spPr>
          <a:xfrm>
            <a:off x="9019173" y="4859319"/>
            <a:ext cx="2290336" cy="1063422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1" i="0" strike="noStrike" cap="none" spc="0" baseline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Több fér el </a:t>
            </a:r>
            <a:r>
              <a:rPr lang="hu-HU" sz="16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 tárolóhelyeken és a takarítókocsikon</a:t>
            </a:r>
            <a:r>
              <a:rPr lang="hu-HU" sz="1600" b="0" i="0" strike="noStrike" cap="none" spc="0" baseline="3000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1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C4F5D2A-22E6-95F5-F031-0F00638B8694}"/>
              </a:ext>
            </a:extLst>
          </p:cNvPr>
          <p:cNvCxnSpPr/>
          <p:nvPr/>
        </p:nvCxnSpPr>
        <p:spPr>
          <a:xfrm>
            <a:off x="2623133" y="4396051"/>
            <a:ext cx="1274790" cy="0"/>
          </a:xfrm>
          <a:prstGeom prst="line">
            <a:avLst/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>
            <a:extLst>
              <a:ext uri="{FF2B5EF4-FFF2-40B4-BE49-F238E27FC236}">
                <a16:creationId xmlns:a16="http://schemas.microsoft.com/office/drawing/2014/main" id="{F915D70E-640C-5965-51FF-E289E51E8193}"/>
              </a:ext>
            </a:extLst>
          </p:cNvPr>
          <p:cNvSpPr/>
          <p:nvPr/>
        </p:nvSpPr>
        <p:spPr>
          <a:xfrm>
            <a:off x="3915988" y="4320831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pic>
        <p:nvPicPr>
          <p:cNvPr id="6" name="Picture 5" descr="A green and white sign with a tree and a check mark&#10;&#10;Description automatically generated">
            <a:extLst>
              <a:ext uri="{FF2B5EF4-FFF2-40B4-BE49-F238E27FC236}">
                <a16:creationId xmlns:a16="http://schemas.microsoft.com/office/drawing/2014/main" id="{7EF28048-3970-3D3D-15DC-1264B6EC07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01" y="6338761"/>
            <a:ext cx="328439" cy="495611"/>
          </a:xfrm>
          <a:prstGeom prst="rect">
            <a:avLst/>
          </a:prstGeom>
        </p:spPr>
      </p:pic>
      <p:pic>
        <p:nvPicPr>
          <p:cNvPr id="8" name="Picture 7" descr="A close-up of a logo&#10;&#10;Description automatically generated">
            <a:extLst>
              <a:ext uri="{FF2B5EF4-FFF2-40B4-BE49-F238E27FC236}">
                <a16:creationId xmlns:a16="http://schemas.microsoft.com/office/drawing/2014/main" id="{6AEBF8CF-0A5C-12FE-4E2D-B7C277E5765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4562" y="6302068"/>
            <a:ext cx="474044" cy="500721"/>
          </a:xfrm>
          <a:prstGeom prst="rect">
            <a:avLst/>
          </a:prstGeom>
        </p:spPr>
      </p:pic>
      <p:pic>
        <p:nvPicPr>
          <p:cNvPr id="10" name="Picture 9" descr="A blue and white sign with a fork and a glass&#10;&#10;Description automatically generated">
            <a:extLst>
              <a:ext uri="{FF2B5EF4-FFF2-40B4-BE49-F238E27FC236}">
                <a16:creationId xmlns:a16="http://schemas.microsoft.com/office/drawing/2014/main" id="{F36C8CA6-9997-D70F-D34D-1F0D49270B7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0952" y="6352633"/>
            <a:ext cx="603803" cy="468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642724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Single Corner Rounded 42">
            <a:extLst>
              <a:ext uri="{FF2B5EF4-FFF2-40B4-BE49-F238E27FC236}">
                <a16:creationId xmlns:a16="http://schemas.microsoft.com/office/drawing/2014/main" id="{D62F3348-DB17-08E3-EF42-766E0EEC63CF}"/>
              </a:ext>
            </a:extLst>
          </p:cNvPr>
          <p:cNvSpPr/>
          <p:nvPr/>
        </p:nvSpPr>
        <p:spPr>
          <a:xfrm rot="10800000" flipH="1">
            <a:off x="9703152" y="4131918"/>
            <a:ext cx="2180644" cy="2159999"/>
          </a:xfrm>
          <a:prstGeom prst="round1Rect">
            <a:avLst>
              <a:gd name="adj" fmla="val 42638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D99AFC7-E88F-544C-5BCB-96371BDFF5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4967" y="1773238"/>
            <a:ext cx="3436934" cy="4551364"/>
          </a:xfrm>
        </p:spPr>
        <p:txBody>
          <a:bodyPr/>
          <a:lstStyle/>
          <a:p>
            <a:pPr marL="285750" indent="-285750">
              <a:spcBef>
                <a:spcPts val="667"/>
              </a:spcBef>
              <a:buFont typeface="Wingdings" panose="05000000000000000000" pitchFamily="2" charset="2"/>
              <a:buChar char="§"/>
            </a:pPr>
            <a:r>
              <a:rPr lang="hu-HU" sz="18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 kis méretű adagolók kapacitása megduplázható</a:t>
            </a:r>
            <a:r>
              <a:rPr lang="hu-HU" sz="1800" b="0" i="0" strike="noStrike" cap="none" spc="0" baseline="3000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1</a:t>
            </a:r>
            <a:endParaRPr lang="en-US" dirty="0">
              <a:solidFill>
                <a:schemeClr val="tx2"/>
              </a:solidFill>
            </a:endParaRPr>
          </a:p>
          <a:p>
            <a:pPr marL="285750" indent="-285750">
              <a:spcBef>
                <a:spcPts val="667"/>
              </a:spcBef>
              <a:buFont typeface="Wingdings" panose="05000000000000000000" pitchFamily="2" charset="2"/>
              <a:buChar char="§"/>
            </a:pPr>
            <a:r>
              <a:rPr lang="hu-HU" sz="18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Kétszer annyi vendéget szolgál ki két utántöltés között</a:t>
            </a:r>
            <a:r>
              <a:rPr lang="hu-HU" sz="1800" b="0" i="0" strike="noStrike" cap="none" spc="0" baseline="3000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2</a:t>
            </a:r>
            <a:endParaRPr lang="en-US" dirty="0">
              <a:solidFill>
                <a:schemeClr val="tx2"/>
              </a:solidFill>
            </a:endParaRPr>
          </a:p>
          <a:p>
            <a:pPr marL="285750" indent="-285750">
              <a:spcBef>
                <a:spcPts val="667"/>
              </a:spcBef>
              <a:buFont typeface="Wingdings" panose="05000000000000000000" pitchFamily="2" charset="2"/>
              <a:buChar char="§"/>
            </a:pPr>
            <a:r>
              <a:rPr lang="hu-HU" sz="18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 kétszeres kéztörlőmennyiségnek köszönhetően ritkábban kell utántölteni az adagolókat</a:t>
            </a:r>
            <a:r>
              <a:rPr lang="hu-HU" sz="1800" b="0" i="0" strike="noStrike" cap="none" spc="0" baseline="3000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1</a:t>
            </a:r>
            <a:endParaRPr lang="en-US" dirty="0">
              <a:solidFill>
                <a:schemeClr val="tx2"/>
              </a:solidFill>
            </a:endParaRPr>
          </a:p>
          <a:p>
            <a:pPr marL="285750" indent="-285750">
              <a:spcBef>
                <a:spcPts val="667"/>
              </a:spcBef>
              <a:buFont typeface="Wingdings" panose="05000000000000000000" pitchFamily="2" charset="2"/>
              <a:buChar char="§"/>
            </a:pPr>
            <a:r>
              <a:rPr lang="hu-HU" sz="18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Biztosítja, hogy a kéztörlők mindig rendelkezésre álljanak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73FF10-6A33-93BF-CF9E-26D84B0D15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hu-HU" sz="2200" b="0" i="0" strike="noStrike" cap="none" spc="0" baseline="0" dirty="0">
                <a:solidFill>
                  <a:srgbClr val="009FDF"/>
                </a:solidFill>
                <a:effectLst/>
                <a:latin typeface="Arial"/>
                <a:ea typeface="Arial"/>
                <a:cs typeface="Arial"/>
              </a:rPr>
              <a:t>Több embert szolgál ki. Ritkábban fogy ki</a:t>
            </a:r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A2C227D-D0EA-7D76-4C4D-789C9492F3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36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Tork Xpress tömörített töltőanyag rendsz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0719273-36FE-54AF-F7A1-7A0F1BADDAD0}"/>
              </a:ext>
            </a:extLst>
          </p:cNvPr>
          <p:cNvSpPr/>
          <p:nvPr/>
        </p:nvSpPr>
        <p:spPr>
          <a:xfrm>
            <a:off x="7359378" y="4131918"/>
            <a:ext cx="2164140" cy="21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A80A26C-12BF-38F8-683F-455AA1497EE8}"/>
              </a:ext>
            </a:extLst>
          </p:cNvPr>
          <p:cNvSpPr/>
          <p:nvPr/>
        </p:nvSpPr>
        <p:spPr>
          <a:xfrm>
            <a:off x="9664657" y="1774567"/>
            <a:ext cx="2164140" cy="21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95DD1AA-D376-6047-1F0C-BDF59A811508}"/>
              </a:ext>
            </a:extLst>
          </p:cNvPr>
          <p:cNvSpPr/>
          <p:nvPr/>
        </p:nvSpPr>
        <p:spPr>
          <a:xfrm>
            <a:off x="5041857" y="1773236"/>
            <a:ext cx="2164140" cy="22037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67C065-9831-FFC4-DB5B-46DD08E32157}"/>
              </a:ext>
            </a:extLst>
          </p:cNvPr>
          <p:cNvSpPr/>
          <p:nvPr/>
        </p:nvSpPr>
        <p:spPr>
          <a:xfrm>
            <a:off x="7353257" y="1773236"/>
            <a:ext cx="2164140" cy="22037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AAB447-BB45-D184-A9A2-70CCC8E00D4B}"/>
              </a:ext>
            </a:extLst>
          </p:cNvPr>
          <p:cNvSpPr/>
          <p:nvPr/>
        </p:nvSpPr>
        <p:spPr>
          <a:xfrm>
            <a:off x="5009939" y="4144079"/>
            <a:ext cx="2196058" cy="216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10E17F4-CE31-0B70-CD68-9A8A7C3E0EA0}"/>
              </a:ext>
            </a:extLst>
          </p:cNvPr>
          <p:cNvSpPr txBox="1"/>
          <p:nvPr/>
        </p:nvSpPr>
        <p:spPr>
          <a:xfrm>
            <a:off x="5111955" y="3081260"/>
            <a:ext cx="1662415" cy="8229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2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Tork Xpress</a:t>
            </a:r>
            <a:r>
              <a:rPr lang="hu-HU" sz="1200" b="1" i="0" strike="noStrike" cap="none" spc="0" baseline="3000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®</a:t>
            </a:r>
            <a:r>
              <a:rPr lang="hu-HU" sz="12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 </a:t>
            </a:r>
          </a:p>
          <a:p>
            <a:r>
              <a:rPr lang="hu-HU" sz="12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multifold Mini kéztörlő-adagoló</a:t>
            </a:r>
          </a:p>
          <a:p>
            <a:r>
              <a:rPr lang="hu-HU" sz="1200" b="0" i="0" strike="noStrike" cap="none" spc="0" baseline="0">
                <a:solidFill>
                  <a:srgbClr val="007ACC"/>
                </a:solidFill>
                <a:effectLst/>
                <a:latin typeface="Arial"/>
                <a:ea typeface="Arial"/>
                <a:cs typeface="Arial"/>
              </a:rPr>
              <a:t>552100</a:t>
            </a:r>
          </a:p>
        </p:txBody>
      </p:sp>
      <p:pic>
        <p:nvPicPr>
          <p:cNvPr id="6" name="Picture 5" descr="A white box with a plastic cover&#10;&#10;Description automatically generated">
            <a:extLst>
              <a:ext uri="{FF2B5EF4-FFF2-40B4-BE49-F238E27FC236}">
                <a16:creationId xmlns:a16="http://schemas.microsoft.com/office/drawing/2014/main" id="{1C38D637-0A35-C2E9-8A16-2F5370DF75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4147" y="1857198"/>
            <a:ext cx="1208059" cy="120805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CA7CF98-27C3-3409-081B-3691BEC1563B}"/>
              </a:ext>
            </a:extLst>
          </p:cNvPr>
          <p:cNvSpPr txBox="1"/>
          <p:nvPr/>
        </p:nvSpPr>
        <p:spPr>
          <a:xfrm>
            <a:off x="7410413" y="3081260"/>
            <a:ext cx="1757971" cy="8229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2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Tork Xpress</a:t>
            </a:r>
            <a:r>
              <a:rPr lang="hu-HU" sz="1200" b="1" i="0" strike="noStrike" cap="none" spc="0" baseline="3000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®</a:t>
            </a:r>
            <a:r>
              <a:rPr lang="hu-HU" sz="12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 </a:t>
            </a:r>
          </a:p>
          <a:p>
            <a:r>
              <a:rPr lang="hu-HU" sz="12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multifold Mini kéztörlő-adagoló</a:t>
            </a:r>
          </a:p>
          <a:p>
            <a:r>
              <a:rPr lang="hu-HU" sz="1200" b="0" i="0" strike="noStrike" cap="none" spc="0" baseline="0">
                <a:solidFill>
                  <a:srgbClr val="007ACC"/>
                </a:solidFill>
                <a:effectLst/>
                <a:latin typeface="Arial"/>
                <a:ea typeface="Arial"/>
                <a:cs typeface="Arial"/>
              </a:rPr>
              <a:t>552108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2AA2B72-1B34-A670-CC34-682E844948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4120" y="1857197"/>
            <a:ext cx="1208059" cy="120805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C98AF79-D27A-2402-679B-DD973545D54B}"/>
              </a:ext>
            </a:extLst>
          </p:cNvPr>
          <p:cNvSpPr txBox="1"/>
          <p:nvPr/>
        </p:nvSpPr>
        <p:spPr>
          <a:xfrm>
            <a:off x="5069091" y="5357699"/>
            <a:ext cx="1906356" cy="8229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2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Tork </a:t>
            </a:r>
            <a:r>
              <a:rPr lang="hu-HU" sz="1200" b="1" i="0" strike="noStrike" cap="none" spc="0" baseline="0" dirty="0" err="1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Xpress</a:t>
            </a:r>
            <a:r>
              <a:rPr lang="hu-HU" sz="1200" b="1" i="0" strike="noStrike" cap="none" spc="0" baseline="3000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® </a:t>
            </a:r>
            <a:r>
              <a:rPr lang="hu-HU" sz="12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dvanced</a:t>
            </a:r>
            <a:endParaRPr lang="en-US" sz="1200" b="1" i="0" u="none" strike="noStrike" baseline="30000" dirty="0">
              <a:solidFill>
                <a:schemeClr val="tx2"/>
              </a:solidFill>
              <a:effectLst/>
            </a:endParaRPr>
          </a:p>
          <a:p>
            <a:r>
              <a:rPr lang="hu-HU" sz="12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tömörített </a:t>
            </a:r>
            <a:r>
              <a:rPr lang="hu-HU" sz="1200" b="1" i="0" strike="noStrike" cap="none" spc="0" baseline="0" dirty="0" err="1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soft</a:t>
            </a:r>
            <a:endParaRPr lang="hu-HU" sz="1200" b="1" i="0" strike="noStrike" cap="none" spc="0" baseline="0" dirty="0">
              <a:solidFill>
                <a:srgbClr val="00206A"/>
              </a:solidFill>
              <a:effectLst/>
              <a:latin typeface="Arial"/>
              <a:ea typeface="Arial"/>
              <a:cs typeface="Arial"/>
            </a:endParaRPr>
          </a:p>
          <a:p>
            <a:r>
              <a:rPr lang="hu-HU" sz="1200" b="1" i="0" strike="noStrike" cap="none" spc="0" baseline="0" dirty="0" err="1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multifold</a:t>
            </a:r>
            <a:r>
              <a:rPr lang="hu-HU" sz="12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 kéztörlő</a:t>
            </a:r>
          </a:p>
          <a:p>
            <a:r>
              <a:rPr lang="hu-HU" sz="1200" b="0" i="0" strike="noStrike" cap="none" spc="0" baseline="0" dirty="0">
                <a:solidFill>
                  <a:srgbClr val="007ACC"/>
                </a:solidFill>
                <a:effectLst/>
                <a:latin typeface="Arial"/>
                <a:ea typeface="Arial"/>
                <a:cs typeface="Arial"/>
              </a:rPr>
              <a:t>600454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1F7D9D3-EC0C-3F44-6D97-2F0F0E79A7A3}"/>
              </a:ext>
            </a:extLst>
          </p:cNvPr>
          <p:cNvSpPr txBox="1"/>
          <p:nvPr/>
        </p:nvSpPr>
        <p:spPr>
          <a:xfrm>
            <a:off x="9734755" y="3040389"/>
            <a:ext cx="1943324" cy="8229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2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Tork Xpress</a:t>
            </a:r>
            <a:r>
              <a:rPr lang="hu-HU" sz="1200" b="1" i="0" strike="noStrike" cap="none" spc="0" baseline="3000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®</a:t>
            </a:r>
            <a:r>
              <a:rPr lang="hu-HU" sz="12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 Premium</a:t>
            </a:r>
          </a:p>
          <a:p>
            <a:r>
              <a:rPr lang="hu-HU" sz="12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tömörített soft</a:t>
            </a:r>
          </a:p>
          <a:p>
            <a:r>
              <a:rPr lang="hu-HU" sz="12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multifold kéztörlő</a:t>
            </a:r>
          </a:p>
          <a:p>
            <a:r>
              <a:rPr lang="hu-HU" sz="1200" b="0" i="0" strike="noStrike" cap="none" spc="0" baseline="0">
                <a:solidFill>
                  <a:srgbClr val="007ACC"/>
                </a:solidFill>
                <a:effectLst/>
                <a:latin typeface="Arial"/>
                <a:ea typeface="Arial"/>
                <a:cs typeface="Arial"/>
              </a:rPr>
              <a:t>100888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49B01B6-CBBC-D884-F7AC-26E3FD6D6745}"/>
              </a:ext>
            </a:extLst>
          </p:cNvPr>
          <p:cNvSpPr txBox="1"/>
          <p:nvPr/>
        </p:nvSpPr>
        <p:spPr>
          <a:xfrm>
            <a:off x="9774572" y="5378348"/>
            <a:ext cx="1944310" cy="8229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200" b="1" i="0" strike="noStrike" cap="none" spc="0" baseline="0" dirty="0" err="1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Tork</a:t>
            </a:r>
            <a:r>
              <a:rPr lang="hu-HU" sz="12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 </a:t>
            </a:r>
            <a:r>
              <a:rPr lang="hu-HU" sz="1200" b="1" i="0" strike="noStrike" cap="none" spc="0" baseline="0" dirty="0" err="1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Xpress</a:t>
            </a:r>
            <a:r>
              <a:rPr lang="hu-HU" sz="1200" b="1" i="0" strike="noStrike" cap="none" spc="0" baseline="3000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®</a:t>
            </a:r>
            <a:r>
              <a:rPr lang="hu-HU" sz="12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 Premium</a:t>
            </a:r>
          </a:p>
          <a:p>
            <a:r>
              <a:rPr lang="hu-HU" sz="12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tömörített </a:t>
            </a:r>
            <a:r>
              <a:rPr lang="hu-HU" sz="1200" b="1" i="0" strike="noStrike" cap="none" spc="0" baseline="0" dirty="0" err="1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soft</a:t>
            </a:r>
            <a:endParaRPr lang="hu-HU" sz="1200" b="1" i="0" strike="noStrike" cap="none" spc="0" baseline="0" dirty="0">
              <a:solidFill>
                <a:srgbClr val="00206A"/>
              </a:solidFill>
              <a:effectLst/>
              <a:latin typeface="Arial"/>
              <a:ea typeface="Arial"/>
              <a:cs typeface="Arial"/>
            </a:endParaRPr>
          </a:p>
          <a:p>
            <a:r>
              <a:rPr lang="hu-HU" sz="1200" b="1" i="0" strike="noStrike" cap="none" spc="0" baseline="0" dirty="0" err="1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multifold</a:t>
            </a:r>
            <a:r>
              <a:rPr lang="hu-HU" sz="1200" b="1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 kéztörlő</a:t>
            </a:r>
          </a:p>
          <a:p>
            <a:r>
              <a:rPr lang="hu-HU" sz="1200" b="0" i="0" strike="noStrike" cap="none" spc="0" baseline="0" dirty="0">
                <a:solidFill>
                  <a:srgbClr val="007ACC"/>
                </a:solidFill>
                <a:effectLst/>
                <a:latin typeface="Arial"/>
                <a:ea typeface="Arial"/>
                <a:cs typeface="Arial"/>
              </a:rPr>
              <a:t>100889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A114429-30D1-0DB2-DDC5-19FB2E598DE0}"/>
              </a:ext>
            </a:extLst>
          </p:cNvPr>
          <p:cNvSpPr txBox="1"/>
          <p:nvPr/>
        </p:nvSpPr>
        <p:spPr>
          <a:xfrm>
            <a:off x="7434120" y="5373988"/>
            <a:ext cx="1965235" cy="8229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2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Tork Xpress</a:t>
            </a:r>
            <a:r>
              <a:rPr lang="hu-HU" sz="1200" b="1" i="0" strike="noStrike" cap="none" spc="0" baseline="3000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®</a:t>
            </a:r>
            <a:r>
              <a:rPr lang="hu-HU" sz="12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 Advanced</a:t>
            </a:r>
          </a:p>
          <a:p>
            <a:r>
              <a:rPr lang="hu-HU" sz="12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tömörített soft</a:t>
            </a:r>
          </a:p>
          <a:p>
            <a:r>
              <a:rPr lang="hu-HU" sz="12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multifold kéztörlő</a:t>
            </a:r>
          </a:p>
          <a:p>
            <a:r>
              <a:rPr lang="hu-HU" sz="1200" b="0" i="0" strike="noStrike" cap="none" spc="0" baseline="0">
                <a:solidFill>
                  <a:srgbClr val="007ACC"/>
                </a:solidFill>
                <a:effectLst/>
                <a:latin typeface="Arial"/>
                <a:ea typeface="Arial"/>
                <a:cs typeface="Arial"/>
              </a:rPr>
              <a:t>120454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A9670BC-42A7-2A3F-A376-4C9B251D75A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305" y="2041343"/>
            <a:ext cx="1404619" cy="77938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9DBA1E5-D110-C06D-2C69-7CB35D072E2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1169" y="4422799"/>
            <a:ext cx="1404619" cy="77938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BEBFDBD-73C7-92CD-071B-9E3B7629629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272" y="4422799"/>
            <a:ext cx="1404619" cy="779384"/>
          </a:xfrm>
          <a:prstGeom prst="rect">
            <a:avLst/>
          </a:prstGeom>
        </p:spPr>
      </p:pic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1DED9E0C-1545-181F-62C1-092F648C540A}"/>
              </a:ext>
            </a:extLst>
          </p:cNvPr>
          <p:cNvSpPr txBox="1"/>
          <p:nvPr/>
        </p:nvSpPr>
        <p:spPr>
          <a:xfrm>
            <a:off x="334698" y="6427336"/>
            <a:ext cx="10321671" cy="616507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ct val="0"/>
              </a:spcAft>
              <a:buNone/>
            </a:pPr>
            <a:r>
              <a:rPr lang="hu-HU" sz="9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1 Az egyenértékű Tork hagyományos hajtogatott kéztörlőhöz képest a H2 Mini adagolókban.</a:t>
            </a:r>
          </a:p>
          <a:p>
            <a:pPr marL="0" indent="0">
              <a:spcAft>
                <a:spcPct val="0"/>
              </a:spcAft>
              <a:buNone/>
            </a:pPr>
            <a:r>
              <a:rPr lang="hu-HU" sz="9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2 Az egyenértékű Tork hagyományos hajtogatott kéztörlőhöz képest, azt feltételezve, hogy egy vendég két kéztörlőt használ.</a:t>
            </a:r>
          </a:p>
          <a:p>
            <a:pPr marL="0" indent="0">
              <a:spcAft>
                <a:spcPct val="0"/>
              </a:spcAft>
              <a:buNone/>
            </a:pPr>
            <a:endParaRPr lang="en-US" sz="9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2FAAD11-0DFC-2693-5D67-E391B33847F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6990" y="4432534"/>
            <a:ext cx="1404619" cy="779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810556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C65B542-CC4C-51D4-CBB1-C4A3C6B528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861163"/>
              </p:ext>
            </p:extLst>
          </p:nvPr>
        </p:nvGraphicFramePr>
        <p:xfrm>
          <a:off x="330324" y="1454016"/>
          <a:ext cx="10209213" cy="25435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2503">
                  <a:extLst>
                    <a:ext uri="{9D8B030D-6E8A-4147-A177-3AD203B41FA5}">
                      <a16:colId xmlns:a16="http://schemas.microsoft.com/office/drawing/2014/main" val="1356900071"/>
                    </a:ext>
                  </a:extLst>
                </a:gridCol>
                <a:gridCol w="1655342">
                  <a:extLst>
                    <a:ext uri="{9D8B030D-6E8A-4147-A177-3AD203B41FA5}">
                      <a16:colId xmlns:a16="http://schemas.microsoft.com/office/drawing/2014/main" val="4256568224"/>
                    </a:ext>
                  </a:extLst>
                </a:gridCol>
                <a:gridCol w="1655342">
                  <a:extLst>
                    <a:ext uri="{9D8B030D-6E8A-4147-A177-3AD203B41FA5}">
                      <a16:colId xmlns:a16="http://schemas.microsoft.com/office/drawing/2014/main" val="1360688156"/>
                    </a:ext>
                  </a:extLst>
                </a:gridCol>
                <a:gridCol w="1655342">
                  <a:extLst>
                    <a:ext uri="{9D8B030D-6E8A-4147-A177-3AD203B41FA5}">
                      <a16:colId xmlns:a16="http://schemas.microsoft.com/office/drawing/2014/main" val="995382154"/>
                    </a:ext>
                  </a:extLst>
                </a:gridCol>
                <a:gridCol w="1655342">
                  <a:extLst>
                    <a:ext uri="{9D8B030D-6E8A-4147-A177-3AD203B41FA5}">
                      <a16:colId xmlns:a16="http://schemas.microsoft.com/office/drawing/2014/main" val="562564683"/>
                    </a:ext>
                  </a:extLst>
                </a:gridCol>
                <a:gridCol w="1655342">
                  <a:extLst>
                    <a:ext uri="{9D8B030D-6E8A-4147-A177-3AD203B41FA5}">
                      <a16:colId xmlns:a16="http://schemas.microsoft.com/office/drawing/2014/main" val="2856902523"/>
                    </a:ext>
                  </a:extLst>
                </a:gridCol>
              </a:tblGrid>
              <a:tr h="1747972">
                <a:tc>
                  <a:txBody>
                    <a:bodyPr/>
                    <a:lstStyle/>
                    <a:p>
                      <a:r>
                        <a:rPr lang="hu-HU" sz="1200" b="1" i="0" strike="noStrike" cap="none" spc="0" baseline="0">
                          <a:solidFill>
                            <a:srgbClr val="FFFFF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Termék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DF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DF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DF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DF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D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9403076"/>
                  </a:ext>
                </a:extLst>
              </a:tr>
              <a:tr h="338400">
                <a:tc>
                  <a:txBody>
                    <a:bodyPr/>
                    <a:lstStyle/>
                    <a:p>
                      <a:r>
                        <a:rPr lang="hu-HU" sz="1100" b="1" i="0" strike="noStrike" cap="none" spc="0" baseline="0">
                          <a:solidFill>
                            <a:srgbClr val="FFFFF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Cikkszám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552000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7F0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552008</a:t>
                      </a:r>
                    </a:p>
                  </a:txBody>
                  <a:tcPr anchor="ctr">
                    <a:solidFill>
                      <a:srgbClr val="E7F0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552100</a:t>
                      </a:r>
                    </a:p>
                  </a:txBody>
                  <a:tcPr anchor="ctr">
                    <a:solidFill>
                      <a:srgbClr val="E7F0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552108</a:t>
                      </a:r>
                    </a:p>
                  </a:txBody>
                  <a:tcPr anchor="ctr">
                    <a:solidFill>
                      <a:srgbClr val="E7F0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460004</a:t>
                      </a:r>
                    </a:p>
                  </a:txBody>
                  <a:tcPr anchor="ctr">
                    <a:solidFill>
                      <a:srgbClr val="E7F0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3541668"/>
                  </a:ext>
                </a:extLst>
              </a:tr>
              <a:tr h="338400">
                <a:tc>
                  <a:txBody>
                    <a:bodyPr/>
                    <a:lstStyle/>
                    <a:p>
                      <a:r>
                        <a:rPr lang="hu-HU" sz="1100" b="1" i="0" strike="noStrike" cap="none" spc="0" baseline="0">
                          <a:solidFill>
                            <a:srgbClr val="FFFFF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Tömörített kapacitás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Akár 675 kéztörlőpapír</a:t>
                      </a:r>
                      <a:endParaRPr lang="de-DE" sz="12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CBDF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Akár 450 kéztörlőpapír</a:t>
                      </a:r>
                      <a:endParaRPr lang="de-DE" sz="12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rgbClr val="CBDF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Akár 675 kéztörlőpapír</a:t>
                      </a:r>
                      <a:endParaRPr lang="de-DE" sz="12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rgbClr val="CBDF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Akár 450 kéztörlőpapír</a:t>
                      </a:r>
                      <a:endParaRPr lang="de-DE" sz="12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rgbClr val="CBDF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u-HU" sz="1200" b="0" i="0" strike="noStrike" cap="none" spc="0" baseline="0" dirty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Akár 675 kéztörlőpapír</a:t>
                      </a:r>
                      <a:endParaRPr lang="de-DE" sz="12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rgbClr val="CBD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4919034"/>
                  </a:ext>
                </a:extLst>
              </a:tr>
            </a:tbl>
          </a:graphicData>
        </a:graphic>
      </p:graphicFrame>
      <p:pic>
        <p:nvPicPr>
          <p:cNvPr id="30" name="Picture 29">
            <a:extLst>
              <a:ext uri="{FF2B5EF4-FFF2-40B4-BE49-F238E27FC236}">
                <a16:creationId xmlns:a16="http://schemas.microsoft.com/office/drawing/2014/main" id="{01316B1B-45E9-CC71-D3FC-4E0F4B703E3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1672" y="1551994"/>
            <a:ext cx="1619685" cy="1619685"/>
          </a:xfrm>
          <a:prstGeom prst="rect">
            <a:avLst/>
          </a:prstGeom>
        </p:spPr>
      </p:pic>
      <p:pic>
        <p:nvPicPr>
          <p:cNvPr id="31" name="Picture 30" descr="A white box with a plastic cover&#10;&#10;Description automatically generated">
            <a:extLst>
              <a:ext uri="{FF2B5EF4-FFF2-40B4-BE49-F238E27FC236}">
                <a16:creationId xmlns:a16="http://schemas.microsoft.com/office/drawing/2014/main" id="{749B6C2E-097B-EF01-F0F6-C450B000229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0635" y="1675567"/>
            <a:ext cx="1141249" cy="1141249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BAC6309-BBB5-5E30-792B-4C211B85C04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1904" y="1494633"/>
            <a:ext cx="1619685" cy="161968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6E18409E-ACCD-3EAC-9C84-4A2423714B5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609" y="1753984"/>
            <a:ext cx="1141249" cy="1141249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C00CA0DF-1BE2-9876-D82B-93ACB8E67C8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2878" y="1515745"/>
            <a:ext cx="1598573" cy="1598573"/>
          </a:xfrm>
          <a:prstGeom prst="rect">
            <a:avLst/>
          </a:prstGeom>
        </p:spPr>
      </p:pic>
      <p:sp>
        <p:nvSpPr>
          <p:cNvPr id="3" name="Title 4">
            <a:extLst>
              <a:ext uri="{FF2B5EF4-FFF2-40B4-BE49-F238E27FC236}">
                <a16:creationId xmlns:a16="http://schemas.microsoft.com/office/drawing/2014/main" id="{9A8632D1-F311-8395-9B8B-688C3A03FDBA}"/>
              </a:ext>
            </a:extLst>
          </p:cNvPr>
          <p:cNvSpPr txBox="1"/>
          <p:nvPr/>
        </p:nvSpPr>
        <p:spPr>
          <a:xfrm>
            <a:off x="295650" y="384040"/>
            <a:ext cx="10209211" cy="10699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sz="36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 Tork Xpress tömörített rendszer részletes adatai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9B25CC8-3F5C-3F6A-F32C-2AFE06F1D7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5396051"/>
              </p:ext>
            </p:extLst>
          </p:nvPr>
        </p:nvGraphicFramePr>
        <p:xfrm>
          <a:off x="330324" y="4028843"/>
          <a:ext cx="6907834" cy="24870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5109">
                  <a:extLst>
                    <a:ext uri="{9D8B030D-6E8A-4147-A177-3AD203B41FA5}">
                      <a16:colId xmlns:a16="http://schemas.microsoft.com/office/drawing/2014/main" val="1356900071"/>
                    </a:ext>
                  </a:extLst>
                </a:gridCol>
                <a:gridCol w="1657575">
                  <a:extLst>
                    <a:ext uri="{9D8B030D-6E8A-4147-A177-3AD203B41FA5}">
                      <a16:colId xmlns:a16="http://schemas.microsoft.com/office/drawing/2014/main" val="4256568224"/>
                    </a:ext>
                  </a:extLst>
                </a:gridCol>
                <a:gridCol w="1657575">
                  <a:extLst>
                    <a:ext uri="{9D8B030D-6E8A-4147-A177-3AD203B41FA5}">
                      <a16:colId xmlns:a16="http://schemas.microsoft.com/office/drawing/2014/main" val="995382154"/>
                    </a:ext>
                  </a:extLst>
                </a:gridCol>
                <a:gridCol w="1657575">
                  <a:extLst>
                    <a:ext uri="{9D8B030D-6E8A-4147-A177-3AD203B41FA5}">
                      <a16:colId xmlns:a16="http://schemas.microsoft.com/office/drawing/2014/main" val="562564683"/>
                    </a:ext>
                  </a:extLst>
                </a:gridCol>
              </a:tblGrid>
              <a:tr h="1353037">
                <a:tc>
                  <a:txBody>
                    <a:bodyPr/>
                    <a:lstStyle/>
                    <a:p>
                      <a:r>
                        <a:rPr lang="hu-HU" sz="1200" b="1" i="0" strike="noStrike" cap="none" spc="0" baseline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Termék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DF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DFF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D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9403076"/>
                  </a:ext>
                </a:extLst>
              </a:tr>
              <a:tr h="338400">
                <a:tc>
                  <a:txBody>
                    <a:bodyPr/>
                    <a:lstStyle/>
                    <a:p>
                      <a:r>
                        <a:rPr lang="hu-HU" sz="1100" b="1" i="0" strike="noStrike" cap="none" spc="0" baseline="0">
                          <a:solidFill>
                            <a:srgbClr val="FFFFF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Cikkszám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100888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7F0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120454</a:t>
                      </a:r>
                    </a:p>
                  </a:txBody>
                  <a:tcPr anchor="ctr">
                    <a:solidFill>
                      <a:srgbClr val="E7F0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600454</a:t>
                      </a:r>
                    </a:p>
                  </a:txBody>
                  <a:tcPr anchor="ctr">
                    <a:solidFill>
                      <a:srgbClr val="E7F0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3541668"/>
                  </a:ext>
                </a:extLst>
              </a:tr>
              <a:tr h="338400">
                <a:tc>
                  <a:txBody>
                    <a:bodyPr/>
                    <a:lstStyle/>
                    <a:p>
                      <a:r>
                        <a:rPr lang="hu-HU" sz="1100" b="1" i="0" strike="noStrike" cap="none" spc="0" baseline="0">
                          <a:solidFill>
                            <a:srgbClr val="FFFFF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Megnevezés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Premium, nagy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CBDF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Advanced, nagy</a:t>
                      </a:r>
                    </a:p>
                  </a:txBody>
                  <a:tcPr anchor="ctr">
                    <a:solidFill>
                      <a:srgbClr val="CBDF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Advanced, nagy</a:t>
                      </a:r>
                    </a:p>
                  </a:txBody>
                  <a:tcPr anchor="ctr">
                    <a:solidFill>
                      <a:srgbClr val="CBD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59110"/>
                  </a:ext>
                </a:extLst>
              </a:tr>
              <a:tr h="338400">
                <a:tc>
                  <a:txBody>
                    <a:bodyPr/>
                    <a:lstStyle/>
                    <a:p>
                      <a:r>
                        <a:rPr lang="hu-HU" sz="1100" b="1" i="0" strike="noStrike" cap="none" spc="0" baseline="0">
                          <a:solidFill>
                            <a:srgbClr val="FFFFF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Kéztörlő/csomag</a:t>
                      </a:r>
                    </a:p>
                    <a:p>
                      <a:r>
                        <a:rPr lang="hu-HU" sz="1100" b="1" i="0" strike="noStrike" cap="none" spc="0" baseline="0">
                          <a:solidFill>
                            <a:srgbClr val="FFFFFF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Csomag/karton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170 kéztörlő</a:t>
                      </a:r>
                      <a:endParaRPr lang="de-DE" sz="120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u-HU" sz="1200" b="0" i="0" strike="noStrike" cap="none" spc="0" baseline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12 csomag/karton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7F0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u-HU" sz="1200" b="0" i="0" strike="noStrike" cap="none" spc="0" baseline="0" dirty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200 kéztörlő</a:t>
                      </a:r>
                      <a:endParaRPr lang="de-DE" sz="1200" dirty="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u-HU" sz="1200" b="0" i="0" strike="noStrike" cap="none" spc="0" baseline="0" dirty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12 csomag/karton</a:t>
                      </a:r>
                    </a:p>
                  </a:txBody>
                  <a:tcPr anchor="ctr">
                    <a:solidFill>
                      <a:srgbClr val="E7F0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u-HU" sz="1200" b="0" i="0" strike="noStrike" cap="none" spc="0" baseline="0" dirty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200 kéztörlő</a:t>
                      </a:r>
                      <a:endParaRPr lang="de-DE" sz="1200" dirty="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hu-HU" sz="1200" b="0" i="0" strike="noStrike" cap="none" spc="0" baseline="0" dirty="0">
                          <a:solidFill>
                            <a:srgbClr val="00206A"/>
                          </a:solidFill>
                          <a:effectLst/>
                          <a:latin typeface="Arial"/>
                          <a:ea typeface="Arial"/>
                          <a:cs typeface="Arial"/>
                        </a:rPr>
                        <a:t>6 csomag/karton</a:t>
                      </a:r>
                    </a:p>
                  </a:txBody>
                  <a:tcPr anchor="ctr">
                    <a:solidFill>
                      <a:srgbClr val="E7F0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4919034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D8028AEE-D55A-46B3-AFD8-DA05F690F20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2021" y="4238210"/>
            <a:ext cx="1198988" cy="66528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080C679-9822-53F9-01F0-16F0D86B8B7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1765" y="4238209"/>
            <a:ext cx="1198988" cy="665285"/>
          </a:xfrm>
          <a:prstGeom prst="rect">
            <a:avLst/>
          </a:prstGeom>
        </p:spPr>
      </p:pic>
      <p:pic>
        <p:nvPicPr>
          <p:cNvPr id="10" name="Picture 9" descr="A green and white sign with a tree and a check mark&#10;&#10;Description automatically generated">
            <a:extLst>
              <a:ext uri="{FF2B5EF4-FFF2-40B4-BE49-F238E27FC236}">
                <a16:creationId xmlns:a16="http://schemas.microsoft.com/office/drawing/2014/main" id="{8A2142A3-E735-FCBC-2302-F6C1674CC26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7590" y="5425417"/>
            <a:ext cx="634541" cy="944995"/>
          </a:xfrm>
          <a:prstGeom prst="rect">
            <a:avLst/>
          </a:prstGeom>
        </p:spPr>
      </p:pic>
      <p:pic>
        <p:nvPicPr>
          <p:cNvPr id="12" name="Picture 11" descr="A close-up of a logo&#10;&#10;Description automatically generated">
            <a:extLst>
              <a:ext uri="{FF2B5EF4-FFF2-40B4-BE49-F238E27FC236}">
                <a16:creationId xmlns:a16="http://schemas.microsoft.com/office/drawing/2014/main" id="{9D811263-D446-031A-4ADF-8A428FDF6B7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3700" y="5395237"/>
            <a:ext cx="903890" cy="95661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B69B8D1-CFC7-E201-C99A-ECF7BE97C4A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8589" y="4238209"/>
            <a:ext cx="1230460" cy="682748"/>
          </a:xfrm>
          <a:prstGeom prst="rect">
            <a:avLst/>
          </a:prstGeom>
        </p:spPr>
      </p:pic>
      <p:pic>
        <p:nvPicPr>
          <p:cNvPr id="11" name="Picture 10" descr="A blue circle with a white logo and a fork&#10;&#10;Description automatically generated">
            <a:extLst>
              <a:ext uri="{FF2B5EF4-FFF2-40B4-BE49-F238E27FC236}">
                <a16:creationId xmlns:a16="http://schemas.microsoft.com/office/drawing/2014/main" id="{BC614281-77D6-BAB0-5392-9F9EF349E8C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9079" y="5453992"/>
            <a:ext cx="634541" cy="81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963909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BB92DDC-C741-EDD7-0EEC-CB2263428576}"/>
              </a:ext>
            </a:extLst>
          </p:cNvPr>
          <p:cNvSpPr/>
          <p:nvPr/>
        </p:nvSpPr>
        <p:spPr>
          <a:xfrm>
            <a:off x="334964" y="1773237"/>
            <a:ext cx="11522603" cy="452596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7879F6AC-0402-E774-D531-9E6445D3A180}"/>
              </a:ext>
            </a:extLst>
          </p:cNvPr>
          <p:cNvSpPr txBox="1"/>
          <p:nvPr/>
        </p:nvSpPr>
        <p:spPr>
          <a:xfrm>
            <a:off x="705594" y="2432450"/>
            <a:ext cx="2855467" cy="940931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kár 27%-kal </a:t>
            </a:r>
            <a:r>
              <a:rPr lang="hu-HU" sz="1600" b="1" i="0" strike="noStrike" cap="none" spc="0" baseline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kevesebb csomagolóanyag</a:t>
            </a:r>
          </a:p>
          <a:p>
            <a:pPr marL="0" indent="0">
              <a:spcAft>
                <a:spcPts val="1000"/>
              </a:spcAft>
              <a:buNone/>
            </a:pPr>
            <a:endParaRPr lang="en-US" sz="1600"/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4BAB4AEF-2BE5-2DD8-741E-9A8F9206BE74}"/>
              </a:ext>
            </a:extLst>
          </p:cNvPr>
          <p:cNvSpPr txBox="1"/>
          <p:nvPr/>
        </p:nvSpPr>
        <p:spPr>
          <a:xfrm>
            <a:off x="8704611" y="2432450"/>
            <a:ext cx="2855467" cy="1503846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 műanyag csomagolás legalább </a:t>
            </a:r>
            <a:r>
              <a:rPr lang="hu-HU" sz="1600" b="1" i="0" strike="noStrike" cap="none" spc="0" baseline="0" dirty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30%-ban fogyasztói hulladékból származó újrahasznosított műanyagból </a:t>
            </a:r>
            <a:r>
              <a:rPr lang="hu-HU" sz="16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készült (a többi 2025 végére)</a:t>
            </a:r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9CA7F023-959E-F4E5-CE9B-D1F1B1A61124}"/>
              </a:ext>
            </a:extLst>
          </p:cNvPr>
          <p:cNvSpPr txBox="1"/>
          <p:nvPr/>
        </p:nvSpPr>
        <p:spPr>
          <a:xfrm>
            <a:off x="705595" y="3378094"/>
            <a:ext cx="2401268" cy="747088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1" i="0" strike="noStrike" cap="none" spc="0" baseline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Kisebb</a:t>
            </a:r>
            <a:r>
              <a:rPr lang="hu-HU" sz="1600" b="0" i="0" strike="noStrike" cap="none" spc="0" baseline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, </a:t>
            </a:r>
            <a:r>
              <a:rPr lang="hu-HU" sz="16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könnyebben kezelhető</a:t>
            </a:r>
            <a:r>
              <a:rPr lang="hu-HU" sz="1600" b="1" i="0" strike="noStrike" cap="none" spc="0" baseline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 csomagok</a:t>
            </a:r>
          </a:p>
          <a:p>
            <a:pPr marL="0" indent="0">
              <a:spcAft>
                <a:spcPts val="1000"/>
              </a:spcAft>
              <a:buNone/>
            </a:pPr>
            <a:endParaRPr lang="en-US" sz="160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9A50D7F6-C079-82A0-A88C-AB3C35F408A8}"/>
              </a:ext>
            </a:extLst>
          </p:cNvPr>
          <p:cNvSpPr txBox="1"/>
          <p:nvPr/>
        </p:nvSpPr>
        <p:spPr>
          <a:xfrm>
            <a:off x="705593" y="4338110"/>
            <a:ext cx="2529444" cy="1063422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A Tork Xpress® multifold a </a:t>
            </a:r>
            <a:r>
              <a:rPr lang="hu-HU" sz="1600" b="1" i="0" strike="noStrike" cap="none" spc="0" baseline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legegyszerűbb és legintuitívabb </a:t>
            </a:r>
            <a:r>
              <a:rPr lang="hu-HU" sz="1600" b="0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kéztörlő-adagoló az utántöltés szempontjából</a:t>
            </a:r>
          </a:p>
          <a:p>
            <a:pPr marL="0" indent="0">
              <a:spcAft>
                <a:spcPts val="1000"/>
              </a:spcAft>
              <a:buNone/>
            </a:pPr>
            <a:endParaRPr lang="en-US" sz="1600"/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74C84D87-0D67-2D89-F4BF-40EBC508875F}"/>
              </a:ext>
            </a:extLst>
          </p:cNvPr>
          <p:cNvSpPr txBox="1"/>
          <p:nvPr/>
        </p:nvSpPr>
        <p:spPr>
          <a:xfrm>
            <a:off x="8715437" y="4305559"/>
            <a:ext cx="3152422" cy="1283634"/>
          </a:xfrm>
          <a:prstGeom prst="rect">
            <a:avLst/>
          </a:prstGeom>
          <a:noFill/>
        </p:spPr>
        <p:txBody>
          <a:bodyPr vert="horz" lIns="144000" tIns="144000" rIns="144000" bIns="14400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None/>
            </a:pPr>
            <a:r>
              <a:rPr lang="hu-HU" sz="1600" b="1" i="0" strike="noStrike" cap="none" spc="0" baseline="0" dirty="0">
                <a:solidFill>
                  <a:srgbClr val="00853F"/>
                </a:solidFill>
                <a:effectLst/>
                <a:latin typeface="Arial"/>
                <a:ea typeface="Arial"/>
                <a:cs typeface="Arial"/>
              </a:rPr>
              <a:t>Minden teherautóra majdnem kétszer annyi kéztörlő </a:t>
            </a:r>
            <a:r>
              <a:rPr lang="hu-HU" sz="1600" b="0" i="0" strike="noStrike" cap="none" spc="0" baseline="0" dirty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fér fel, ami hozzájárul a szállításból származó CO2-kibocsátás csökkentéséhez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EB7265-1BD4-2F32-7F29-C2F2398315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hu-HU" sz="2200" b="0" i="0" strike="noStrike" cap="none" spc="0" baseline="0">
                <a:solidFill>
                  <a:srgbClr val="009FDF"/>
                </a:solidFill>
                <a:effectLst/>
                <a:latin typeface="Arial"/>
                <a:ea typeface="Arial"/>
                <a:cs typeface="Arial"/>
              </a:rPr>
              <a:t>Tork Xpress tömörített multifold kéztörlő 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F1D4B8-9E9E-527C-3D3F-82460898E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3600" b="1" i="0" strike="noStrike" cap="none" spc="0" baseline="0">
                <a:solidFill>
                  <a:srgbClr val="00206A"/>
                </a:solidFill>
                <a:effectLst/>
                <a:latin typeface="Arial"/>
                <a:ea typeface="Arial"/>
                <a:cs typeface="Arial"/>
              </a:rPr>
              <a:t>Fenntartható higiéniai menedzsment</a:t>
            </a:r>
          </a:p>
        </p:txBody>
      </p:sp>
      <p:pic>
        <p:nvPicPr>
          <p:cNvPr id="23" name="Platshållare för bild 56">
            <a:extLst>
              <a:ext uri="{FF2B5EF4-FFF2-40B4-BE49-F238E27FC236}">
                <a16:creationId xmlns:a16="http://schemas.microsoft.com/office/drawing/2014/main" id="{528563AE-A736-63F6-986B-530C6902FF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66109" y="2483073"/>
            <a:ext cx="3059781" cy="3059781"/>
          </a:xfrm>
          <a:prstGeom prst="rect">
            <a:avLst/>
          </a:prstGeom>
        </p:spPr>
      </p:pic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id="{2F15721A-2FEA-AFDF-D639-199EA1A2EE90}"/>
              </a:ext>
            </a:extLst>
          </p:cNvPr>
          <p:cNvCxnSpPr/>
          <p:nvPr/>
        </p:nvCxnSpPr>
        <p:spPr>
          <a:xfrm>
            <a:off x="3064197" y="2813628"/>
            <a:ext cx="1386626" cy="295062"/>
          </a:xfrm>
          <a:prstGeom prst="bentConnector3">
            <a:avLst/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EC9787C1-F6B2-B648-A784-0939F0EEC343}"/>
              </a:ext>
            </a:extLst>
          </p:cNvPr>
          <p:cNvSpPr/>
          <p:nvPr/>
        </p:nvSpPr>
        <p:spPr>
          <a:xfrm>
            <a:off x="4450815" y="3036502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566D1B7-4DCD-EC94-5563-CE47F5259327}"/>
              </a:ext>
            </a:extLst>
          </p:cNvPr>
          <p:cNvCxnSpPr/>
          <p:nvPr/>
        </p:nvCxnSpPr>
        <p:spPr>
          <a:xfrm>
            <a:off x="2909455" y="3777581"/>
            <a:ext cx="1429532" cy="0"/>
          </a:xfrm>
          <a:prstGeom prst="line">
            <a:avLst/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D4B6F996-8F9B-AED5-09FC-506AD640A7F9}"/>
              </a:ext>
            </a:extLst>
          </p:cNvPr>
          <p:cNvSpPr/>
          <p:nvPr/>
        </p:nvSpPr>
        <p:spPr>
          <a:xfrm>
            <a:off x="4377524" y="3702361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BBD0708A-70FC-1C0C-6A2B-620069091459}"/>
              </a:ext>
            </a:extLst>
          </p:cNvPr>
          <p:cNvCxnSpPr/>
          <p:nvPr/>
        </p:nvCxnSpPr>
        <p:spPr>
          <a:xfrm rot="10800000" flipV="1">
            <a:off x="7792206" y="3108690"/>
            <a:ext cx="951416" cy="520629"/>
          </a:xfrm>
          <a:prstGeom prst="bentConnector3">
            <a:avLst>
              <a:gd name="adj1" fmla="val 50000"/>
            </a:avLst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>
            <a:extLst>
              <a:ext uri="{FF2B5EF4-FFF2-40B4-BE49-F238E27FC236}">
                <a16:creationId xmlns:a16="http://schemas.microsoft.com/office/drawing/2014/main" id="{521A08DD-76AD-D655-AF87-3A87EFF71C8E}"/>
              </a:ext>
            </a:extLst>
          </p:cNvPr>
          <p:cNvSpPr/>
          <p:nvPr/>
        </p:nvSpPr>
        <p:spPr>
          <a:xfrm>
            <a:off x="7647827" y="3557982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cxnSp>
        <p:nvCxnSpPr>
          <p:cNvPr id="37" name="Elbow Connector 36">
            <a:extLst>
              <a:ext uri="{FF2B5EF4-FFF2-40B4-BE49-F238E27FC236}">
                <a16:creationId xmlns:a16="http://schemas.microsoft.com/office/drawing/2014/main" id="{F0DB16FE-FEE8-0D6A-72BE-BD94C27B6074}"/>
              </a:ext>
            </a:extLst>
          </p:cNvPr>
          <p:cNvCxnSpPr/>
          <p:nvPr/>
        </p:nvCxnSpPr>
        <p:spPr>
          <a:xfrm rot="10800000">
            <a:off x="7748500" y="4475157"/>
            <a:ext cx="995125" cy="416489"/>
          </a:xfrm>
          <a:prstGeom prst="bentConnector3">
            <a:avLst>
              <a:gd name="adj1" fmla="val 50000"/>
            </a:avLst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C426E318-982D-7CBF-B71A-F72C4A9D04E1}"/>
              </a:ext>
            </a:extLst>
          </p:cNvPr>
          <p:cNvSpPr/>
          <p:nvPr/>
        </p:nvSpPr>
        <p:spPr>
          <a:xfrm>
            <a:off x="7593829" y="4404882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  <p:cxnSp>
        <p:nvCxnSpPr>
          <p:cNvPr id="42" name="Elbow Connector 41">
            <a:extLst>
              <a:ext uri="{FF2B5EF4-FFF2-40B4-BE49-F238E27FC236}">
                <a16:creationId xmlns:a16="http://schemas.microsoft.com/office/drawing/2014/main" id="{8D082EDB-A3C1-D1B4-1193-991704D44B11}"/>
              </a:ext>
            </a:extLst>
          </p:cNvPr>
          <p:cNvCxnSpPr/>
          <p:nvPr/>
        </p:nvCxnSpPr>
        <p:spPr>
          <a:xfrm flipV="1">
            <a:off x="3040601" y="4452082"/>
            <a:ext cx="1743540" cy="545386"/>
          </a:xfrm>
          <a:prstGeom prst="bentConnector3">
            <a:avLst>
              <a:gd name="adj1" fmla="val 50000"/>
            </a:avLst>
          </a:prstGeom>
          <a:ln w="25400" cap="rnd">
            <a:solidFill>
              <a:srgbClr val="007AC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>
            <a:extLst>
              <a:ext uri="{FF2B5EF4-FFF2-40B4-BE49-F238E27FC236}">
                <a16:creationId xmlns:a16="http://schemas.microsoft.com/office/drawing/2014/main" id="{348AF79F-8B28-849E-C3ED-93FDBEEC29AE}"/>
              </a:ext>
            </a:extLst>
          </p:cNvPr>
          <p:cNvSpPr/>
          <p:nvPr/>
        </p:nvSpPr>
        <p:spPr>
          <a:xfrm>
            <a:off x="4779999" y="4375184"/>
            <a:ext cx="144379" cy="144379"/>
          </a:xfrm>
          <a:prstGeom prst="ellipse">
            <a:avLst/>
          </a:prstGeom>
          <a:noFill/>
          <a:ln w="19050">
            <a:solidFill>
              <a:srgbClr val="007A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417829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601850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OS" val="Unix 3.10.0.1160"/>
  <p:tag name="AS_RELEASE_DATE" val="2023.06.30"/>
  <p:tag name="AS_TITLE" val="Aspose.Slides for Java"/>
  <p:tag name="AS_VERSION" val="23.6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2Wbm01V_238Cy1JG6r_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1Hpg431zds_wjbBE6U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oUdr3_2QFpRphzXwD5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WFOlwLBnTD12wuxxAs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TWFdx2b3ic.lEX_qEv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TWFdx2b3ic.lEX_qEv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GiSE.9XKP0NpbjV_W86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GiSE.9XKP0NpbjV_W86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TyC7WFPmVUc5HB5nI7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TyC7WFPmVUc5HB5nI7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zHRvavIhIhT9Z9yMTuC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9ND.3DPCFURzpwavy1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9ND.3DPCFURzpwavy1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esTvlT378IQm06.Ggr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yqPJCx0DqqAltqbNkFc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yqPJCx0DqqAltqbNkF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9B._Ia.AOlj_mjEk_r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VAsFeE8R09zTktEMGYJg"/>
</p:tagLst>
</file>

<file path=ppt/theme/theme1.xml><?xml version="1.0" encoding="utf-8"?>
<a:theme xmlns:a="http://schemas.openxmlformats.org/drawingml/2006/main" name="Final Tork and Essity template for Professional Hygiene empty">
  <a:themeElements>
    <a:clrScheme name="Tork ny 2020">
      <a:dk1>
        <a:srgbClr val="000000"/>
      </a:dk1>
      <a:lt1>
        <a:srgbClr val="FFFFFF"/>
      </a:lt1>
      <a:dk2>
        <a:srgbClr val="00206A"/>
      </a:dk2>
      <a:lt2>
        <a:srgbClr val="D5ECF9"/>
      </a:lt2>
      <a:accent1>
        <a:srgbClr val="009FDF"/>
      </a:accent1>
      <a:accent2>
        <a:srgbClr val="0079AD"/>
      </a:accent2>
      <a:accent3>
        <a:srgbClr val="43B02A"/>
      </a:accent3>
      <a:accent4>
        <a:srgbClr val="E03C30"/>
      </a:accent4>
      <a:accent5>
        <a:srgbClr val="00853F"/>
      </a:accent5>
      <a:accent6>
        <a:srgbClr val="981D97"/>
      </a:accent6>
      <a:hlink>
        <a:srgbClr val="919191"/>
      </a:hlink>
      <a:folHlink>
        <a:srgbClr val="981D71"/>
      </a:folHlink>
    </a:clrScheme>
    <a:fontScheme name="Anpassat 18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ork PPT Template 2020_2021" id="{BF44AEBE-1305-4BD9-BD47-46023ED76976}" vid="{D6A4E3DC-F2B8-4754-9B0E-229884B0013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Calibri Light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Calibri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Calibri Light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Calibri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FFC2B9B516FC8949B1C9E455BB66E25B" ma:contentTypeVersion="20" ma:contentTypeDescription="Új dokumentum létrehozása." ma:contentTypeScope="" ma:versionID="68a18994c58cfa65966a13cd3d03bcc9">
  <xsd:schema xmlns:xsd="http://www.w3.org/2001/XMLSchema" xmlns:xs="http://www.w3.org/2001/XMLSchema" xmlns:p="http://schemas.microsoft.com/office/2006/metadata/properties" xmlns:ns2="dc6ffee2-e55d-4009-a95d-aa81f14b6c75" xmlns:ns3="f3214462-4e6a-4117-8ac3-b67c3aef1394" xmlns:ns4="966f418a-c33a-4e8c-bb63-47a6458cd509" targetNamespace="http://schemas.microsoft.com/office/2006/metadata/properties" ma:root="true" ma:fieldsID="569548488f746d8ec48b1a30b52d78aa" ns2:_="" ns3:_="" ns4:_="">
    <xsd:import namespace="dc6ffee2-e55d-4009-a95d-aa81f14b6c75"/>
    <xsd:import namespace="f3214462-4e6a-4117-8ac3-b67c3aef1394"/>
    <xsd:import namespace="966f418a-c33a-4e8c-bb63-47a6458cd509"/>
    <xsd:element name="properties">
      <xsd:complexType>
        <xsd:sequence>
          <xsd:element name="documentManagement">
            <xsd:complexType>
              <xsd:all>
                <xsd:element ref="ns2:HideFromDelv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MediaServiceLocation" minOccurs="0"/>
                <xsd:element ref="ns4:SharedWithUsers" minOccurs="0"/>
                <xsd:element ref="ns4:SharedWithDetails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6ffee2-e55d-4009-a95d-aa81f14b6c75" elementFormDefault="qualified">
    <xsd:import namespace="http://schemas.microsoft.com/office/2006/documentManagement/types"/>
    <xsd:import namespace="http://schemas.microsoft.com/office/infopath/2007/PartnerControls"/>
    <xsd:element name="HideFromDelve" ma:index="8" nillable="true" ma:displayName="HideFromDelve" ma:default="0" ma:internalName="HideFromDelv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214462-4e6a-4117-8ac3-b67c3aef13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Képcímkék" ma:readOnly="false" ma:fieldId="{5cf76f15-5ced-4ddc-b409-7134ff3c332f}" ma:taxonomyMulti="true" ma:sspId="082e87e1-ab12-4a6e-aa89-33ae313578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6f418a-c33a-4e8c-bb63-47a6458cd509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Résztvevők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Megosztva részletekkel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eccfde85-6ebd-4c2c-8704-b847161e79f0}" ma:internalName="TaxCatchAll" ma:showField="CatchAllData" ma:web="966f418a-c33a-4e8c-bb63-47a6458cd50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haredContentType xmlns="Microsoft.SharePoint.Taxonomy.ContentTypeSync" SourceId="082e87e1-ab12-4a6e-aa89-33ae31357808" ContentTypeId="0x0101" PreviousValue="false"/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ideFromDelve xmlns="dc6ffee2-e55d-4009-a95d-aa81f14b6c75">false</HideFromDelve>
    <lcf76f155ced4ddcb4097134ff3c332f xmlns="f3214462-4e6a-4117-8ac3-b67c3aef1394">
      <Terms xmlns="http://schemas.microsoft.com/office/infopath/2007/PartnerControls"/>
    </lcf76f155ced4ddcb4097134ff3c332f>
    <TaxCatchAll xmlns="966f418a-c33a-4e8c-bb63-47a6458cd509" xsi:nil="true"/>
    <SharedWithUsers xmlns="966f418a-c33a-4e8c-bb63-47a6458cd509">
      <UserInfo>
        <DisplayName>FREDMAN Pia</DisplayName>
        <AccountId>211</AccountId>
        <AccountType/>
      </UserInfo>
      <UserInfo>
        <DisplayName>KÖNIGSON KOOPMANS Anna</DisplayName>
        <AccountId>52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090A034A-EE2B-4BD6-AB2E-C25EA6F898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c6ffee2-e55d-4009-a95d-aa81f14b6c75"/>
    <ds:schemaRef ds:uri="f3214462-4e6a-4117-8ac3-b67c3aef1394"/>
    <ds:schemaRef ds:uri="966f418a-c33a-4e8c-bb63-47a6458cd5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AD644D7-626C-412D-B152-1FE7140A33C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0061F2A-B324-437A-A304-E9BC1761F891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67D7E3C3-F2FD-4941-BC63-230A30F4A01A}">
  <ds:schemaRefs>
    <ds:schemaRef ds:uri="http://purl.org/dc/terms/"/>
    <ds:schemaRef ds:uri="http://schemas.openxmlformats.org/package/2006/metadata/core-properties"/>
    <ds:schemaRef ds:uri="ad4d8a77-dd39-47ce-a3f0-e76ca166fd1e"/>
    <ds:schemaRef ds:uri="http://schemas.microsoft.com/office/2006/documentManagement/types"/>
    <ds:schemaRef ds:uri="5c0f709b-818b-4cfd-8222-5ec00604c8b3"/>
    <ds:schemaRef ds:uri="dc6ffee2-e55d-4009-a95d-aa81f14b6c75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  <ds:schemaRef ds:uri="f3214462-4e6a-4117-8ac3-b67c3aef1394"/>
    <ds:schemaRef ds:uri="966f418a-c33a-4e8c-bb63-47a6458cd50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ork PPT Template 2020_2021</Template>
  <TotalTime>0</TotalTime>
  <Words>565</Words>
  <Application>Microsoft Office PowerPoint</Application>
  <PresentationFormat>Widescreen</PresentationFormat>
  <Paragraphs>99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Wingdings</vt:lpstr>
      <vt:lpstr>Final Tork and Essity template for Professional Hygiene empty</vt:lpstr>
      <vt:lpstr>think-cell Slide</vt:lpstr>
      <vt:lpstr>PowerPoint Presentation</vt:lpstr>
      <vt:lpstr>Az ágazat nehézségei</vt:lpstr>
      <vt:lpstr>Tork Xpress kéztörlőrendszer</vt:lpstr>
      <vt:lpstr>A Tork Xpress tömörített kéztörlők kínálata</vt:lpstr>
      <vt:lpstr>Tork Xpress tömörített töltőanyag rendszer</vt:lpstr>
      <vt:lpstr>PowerPoint Presentation</vt:lpstr>
      <vt:lpstr>Fenntartható higiéniai menedzsmen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ENZEL Hazel</dc:creator>
  <cp:lastModifiedBy>MÉSZÁROS Barbara</cp:lastModifiedBy>
  <cp:revision>23</cp:revision>
  <cp:lastPrinted>2017-07-24T15:05:49Z</cp:lastPrinted>
  <dcterms:created xsi:type="dcterms:W3CDTF">2022-10-07T09:55:49Z</dcterms:created>
  <dcterms:modified xsi:type="dcterms:W3CDTF">2024-03-20T15:1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3FCEF0FFF91C4EA3284E1F43E45054</vt:lpwstr>
  </property>
  <property fmtid="{D5CDD505-2E9C-101B-9397-08002B2CF9AE}" pid="3" name="MediaServiceImageTags">
    <vt:lpwstr/>
  </property>
  <property fmtid="{D5CDD505-2E9C-101B-9397-08002B2CF9AE}" pid="4" name="MSIP_Label_4c8d6ef0-491d-4f17-aead-12ed260929f1_Enabled">
    <vt:lpwstr>True</vt:lpwstr>
  </property>
  <property fmtid="{D5CDD505-2E9C-101B-9397-08002B2CF9AE}" pid="5" name="MSIP_Label_4c8d6ef0-491d-4f17-aead-12ed260929f1_Extended_MSFT_Method">
    <vt:lpwstr>Automatic</vt:lpwstr>
  </property>
  <property fmtid="{D5CDD505-2E9C-101B-9397-08002B2CF9AE}" pid="6" name="MSIP_Label_4c8d6ef0-491d-4f17-aead-12ed260929f1_Name">
    <vt:lpwstr>Internal</vt:lpwstr>
  </property>
  <property fmtid="{D5CDD505-2E9C-101B-9397-08002B2CF9AE}" pid="7" name="MSIP_Label_4c8d6ef0-491d-4f17-aead-12ed260929f1_SetDate">
    <vt:lpwstr>2019-03-19T21:34:38.1774496Z</vt:lpwstr>
  </property>
  <property fmtid="{D5CDD505-2E9C-101B-9397-08002B2CF9AE}" pid="8" name="MSIP_Label_4c8d6ef0-491d-4f17-aead-12ed260929f1_SiteId">
    <vt:lpwstr>f101208c-39d3-4c8a-8cc7-ad896b25954f</vt:lpwstr>
  </property>
  <property fmtid="{D5CDD505-2E9C-101B-9397-08002B2CF9AE}" pid="9" name="Sensitivity">
    <vt:lpwstr>Internal</vt:lpwstr>
  </property>
</Properties>
</file>